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4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Override1.xml" ContentType="application/vnd.openxmlformats-officedocument.themeOverride+xml"/>
  <Override PartName="/ppt/tags/tag9.xml" ContentType="application/vnd.openxmlformats-officedocument.presentationml.tags+xml"/>
  <Override PartName="/ppt/theme/themeOverride2.xml" ContentType="application/vnd.openxmlformats-officedocument.themeOverr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Override3.xml" ContentType="application/vnd.openxmlformats-officedocument.themeOverr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Override4.xml" ContentType="application/vnd.openxmlformats-officedocument.themeOverr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Override5.xml" ContentType="application/vnd.openxmlformats-officedocument.themeOverr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heme/themeOverride6.xml" ContentType="application/vnd.openxmlformats-officedocument.themeOverr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heme/themeOverride7.xml" ContentType="application/vnd.openxmlformats-officedocument.themeOverr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Override8.xml" ContentType="application/vnd.openxmlformats-officedocument.themeOverr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heme/themeOverride9.xml" ContentType="application/vnd.openxmlformats-officedocument.themeOverr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Override10.xml" ContentType="application/vnd.openxmlformats-officedocument.themeOverr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heme/themeOverride11.xml" ContentType="application/vnd.openxmlformats-officedocument.themeOverr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heme/themeOverride12.xml" ContentType="application/vnd.openxmlformats-officedocument.themeOverr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heme/themeOverride13.xml" ContentType="application/vnd.openxmlformats-officedocument.themeOverride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heme/themeOverride14.xml" ContentType="application/vnd.openxmlformats-officedocument.themeOverrid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heme/themeOverride15.xml" ContentType="application/vnd.openxmlformats-officedocument.themeOverr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heme/themeOverride16.xml" ContentType="application/vnd.openxmlformats-officedocument.themeOverride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heme/themeOverride17.xml" ContentType="application/vnd.openxmlformats-officedocument.themeOverr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heme/themeOverride18.xml" ContentType="application/vnd.openxmlformats-officedocument.themeOverrid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heme/themeOverride19.xml" ContentType="application/vnd.openxmlformats-officedocument.themeOverride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heme/themeOverride20.xml" ContentType="application/vnd.openxmlformats-officedocument.themeOverrid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heme/themeOverride21.xml" ContentType="application/vnd.openxmlformats-officedocument.themeOverride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heme/themeOverride22.xml" ContentType="application/vnd.openxmlformats-officedocument.themeOverride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heme/themeOverride23.xml" ContentType="application/vnd.openxmlformats-officedocument.themeOverride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heme/themeOverride24.xml" ContentType="application/vnd.openxmlformats-officedocument.themeOverr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heme/themeOverride25.xml" ContentType="application/vnd.openxmlformats-officedocument.themeOverrid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heme/themeOverride26.xml" ContentType="application/vnd.openxmlformats-officedocument.themeOverrid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heme/themeOverride27.xml" ContentType="application/vnd.openxmlformats-officedocument.themeOverride+xml"/>
  <Override PartName="/ppt/tags/tag108.xml" ContentType="application/vnd.openxmlformats-officedocument.presentationml.tags+xml"/>
  <Override PartName="/ppt/theme/themeOverride28.xml" ContentType="application/vnd.openxmlformats-officedocument.themeOverride+xml"/>
  <Override PartName="/ppt/tags/tag109.xml" ContentType="application/vnd.openxmlformats-officedocument.presentationml.tags+xml"/>
  <Override PartName="/ppt/theme/themeOverride29.xml" ContentType="application/vnd.openxmlformats-officedocument.themeOverr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heme/themeOverride30.xml" ContentType="application/vnd.openxmlformats-officedocument.themeOverr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heme/themeOverride31.xml" ContentType="application/vnd.openxmlformats-officedocument.themeOverride+xml"/>
  <Override PartName="/ppt/tags/tag118.xml" ContentType="application/vnd.openxmlformats-officedocument.presentationml.tags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6.xml" ContentType="application/vnd.openxmlformats-officedocument.them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heme/themeOverride32.xml" ContentType="application/vnd.openxmlformats-officedocument.themeOverride+xml"/>
  <Override PartName="/ppt/tags/tag127.xml" ContentType="application/vnd.openxmlformats-officedocument.presentationml.tags+xml"/>
  <Override PartName="/ppt/theme/themeOverride33.xml" ContentType="application/vnd.openxmlformats-officedocument.themeOverr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heme/themeOverride34.xml" ContentType="application/vnd.openxmlformats-officedocument.themeOverride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heme/themeOverride35.xml" ContentType="application/vnd.openxmlformats-officedocument.themeOverrid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heme/themeOverride36.xml" ContentType="application/vnd.openxmlformats-officedocument.themeOverr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heme/themeOverride37.xml" ContentType="application/vnd.openxmlformats-officedocument.themeOverrid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heme/themeOverride38.xml" ContentType="application/vnd.openxmlformats-officedocument.themeOverride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heme/themeOverride39.xml" ContentType="application/vnd.openxmlformats-officedocument.themeOverr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heme/themeOverride40.xml" ContentType="application/vnd.openxmlformats-officedocument.themeOverr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heme/themeOverride41.xml" ContentType="application/vnd.openxmlformats-officedocument.themeOverr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heme/themeOverride42.xml" ContentType="application/vnd.openxmlformats-officedocument.themeOverride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heme/themeOverride43.xml" ContentType="application/vnd.openxmlformats-officedocument.themeOverride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heme/themeOverride44.xml" ContentType="application/vnd.openxmlformats-officedocument.themeOverr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Override45.xml" ContentType="application/vnd.openxmlformats-officedocument.themeOverr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heme/themeOverride46.xml" ContentType="application/vnd.openxmlformats-officedocument.themeOverr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heme/themeOverride47.xml" ContentType="application/vnd.openxmlformats-officedocument.themeOverr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heme/themeOverride48.xml" ContentType="application/vnd.openxmlformats-officedocument.themeOverr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heme/themeOverride49.xml" ContentType="application/vnd.openxmlformats-officedocument.themeOverr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heme/themeOverride50.xml" ContentType="application/vnd.openxmlformats-officedocument.themeOverr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heme/themeOverride51.xml" ContentType="application/vnd.openxmlformats-officedocument.themeOverr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heme/themeOverride52.xml" ContentType="application/vnd.openxmlformats-officedocument.themeOverr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heme/themeOverride53.xml" ContentType="application/vnd.openxmlformats-officedocument.themeOverr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heme/themeOverride54.xml" ContentType="application/vnd.openxmlformats-officedocument.themeOverr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heme/themeOverride55.xml" ContentType="application/vnd.openxmlformats-officedocument.themeOverride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heme/themeOverride56.xml" ContentType="application/vnd.openxmlformats-officedocument.themeOverr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heme/themeOverride57.xml" ContentType="application/vnd.openxmlformats-officedocument.themeOverride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heme/themeOverride58.xml" ContentType="application/vnd.openxmlformats-officedocument.themeOverride+xml"/>
  <Override PartName="/ppt/tags/tag226.xml" ContentType="application/vnd.openxmlformats-officedocument.presentationml.tags+xml"/>
  <Override PartName="/ppt/theme/themeOverride59.xml" ContentType="application/vnd.openxmlformats-officedocument.themeOverride+xml"/>
  <Override PartName="/ppt/tags/tag227.xml" ContentType="application/vnd.openxmlformats-officedocument.presentationml.tags+xml"/>
  <Override PartName="/ppt/theme/themeOverride60.xml" ContentType="application/vnd.openxmlformats-officedocument.themeOverride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heme/themeOverride61.xml" ContentType="application/vnd.openxmlformats-officedocument.themeOverride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heme/themeOverride62.xml" ContentType="application/vnd.openxmlformats-officedocument.themeOverride+xml"/>
  <Override PartName="/ppt/tags/tag236.xml" ContentType="application/vnd.openxmlformats-officedocument.presentationml.tags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theme/theme7.xml" ContentType="application/vnd.openxmlformats-officedocument.theme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8.xml" ContentType="application/vnd.openxmlformats-officedocument.theme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theme/theme9.xml" ContentType="application/vnd.openxmlformats-officedocument.theme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theme/theme10.xml" ContentType="application/vnd.openxmlformats-officedocument.theme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theme/theme11.xml" ContentType="application/vnd.openxmlformats-officedocument.theme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theme/theme12.xml" ContentType="application/vnd.openxmlformats-officedocument.theme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heme/theme13.xml" ContentType="application/vnd.openxmlformats-officedocument.theme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14.xml" ContentType="application/vnd.openxmlformats-officedocument.theme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5.xml" ContentType="application/vnd.openxmlformats-officedocument.theme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theme/theme16.xml" ContentType="application/vnd.openxmlformats-officedocument.theme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17.xml" ContentType="application/vnd.openxmlformats-officedocument.theme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theme/theme18.xml" ContentType="application/vnd.openxmlformats-officedocument.theme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theme/theme19.xml" ContentType="application/vnd.openxmlformats-officedocument.theme+xml"/>
  <Override PartName="/ppt/theme/theme20.xml" ContentType="application/vnd.openxmlformats-officedocument.theme+xml"/>
  <Override PartName="/ppt/theme/theme2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20" r:id="rId1"/>
    <p:sldMasterId id="2147483732" r:id="rId2"/>
    <p:sldMasterId id="2147483903" r:id="rId3"/>
    <p:sldMasterId id="2147483935" r:id="rId4"/>
    <p:sldMasterId id="2147483967" r:id="rId5"/>
    <p:sldMasterId id="2147484034" r:id="rId6"/>
    <p:sldMasterId id="2147484294" r:id="rId7"/>
    <p:sldMasterId id="2147484309" r:id="rId8"/>
    <p:sldMasterId id="2147484402" r:id="rId9"/>
    <p:sldMasterId id="2147484415" r:id="rId10"/>
    <p:sldMasterId id="2147484428" r:id="rId11"/>
    <p:sldMasterId id="2147484454" r:id="rId12"/>
    <p:sldMasterId id="2147484480" r:id="rId13"/>
    <p:sldMasterId id="2147484493" r:id="rId14"/>
    <p:sldMasterId id="2147484506" r:id="rId15"/>
    <p:sldMasterId id="2147484519" r:id="rId16"/>
    <p:sldMasterId id="2147484545" r:id="rId17"/>
    <p:sldMasterId id="2147484558" r:id="rId18"/>
    <p:sldMasterId id="2147484571" r:id="rId19"/>
  </p:sldMasterIdLst>
  <p:notesMasterIdLst>
    <p:notesMasterId r:id="rId37"/>
  </p:notesMasterIdLst>
  <p:handoutMasterIdLst>
    <p:handoutMasterId r:id="rId38"/>
  </p:handoutMasterIdLst>
  <p:sldIdLst>
    <p:sldId id="521" r:id="rId20"/>
    <p:sldId id="667" r:id="rId21"/>
    <p:sldId id="674" r:id="rId22"/>
    <p:sldId id="672" r:id="rId23"/>
    <p:sldId id="703" r:id="rId24"/>
    <p:sldId id="712" r:id="rId25"/>
    <p:sldId id="713" r:id="rId26"/>
    <p:sldId id="714" r:id="rId27"/>
    <p:sldId id="716" r:id="rId28"/>
    <p:sldId id="718" r:id="rId29"/>
    <p:sldId id="720" r:id="rId30"/>
    <p:sldId id="721" r:id="rId31"/>
    <p:sldId id="722" r:id="rId32"/>
    <p:sldId id="704" r:id="rId33"/>
    <p:sldId id="724" r:id="rId34"/>
    <p:sldId id="725" r:id="rId35"/>
    <p:sldId id="726" r:id="rId36"/>
  </p:sldIdLst>
  <p:sldSz cx="9144000" cy="6858000" type="screen4x3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3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99"/>
    <a:srgbClr val="CCFFFF"/>
    <a:srgbClr val="C0F4FB"/>
    <a:srgbClr val="FFE5F2"/>
    <a:srgbClr val="FFD1E8"/>
    <a:srgbClr val="FFC5E2"/>
    <a:srgbClr val="E5D1E3"/>
    <a:srgbClr val="E7F6FF"/>
    <a:srgbClr val="CCECFF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—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2833802-FEF1-4C79-8D5D-14CF1EAF98D9}" styleName="Светлый стиль 2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BDBED569-4797-4DF1-A0F4-6AAB3CD982D8}" styleName="Светлый стиль 3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68D230F3-CF80-4859-8CE7-A43EE81993B5}" styleName="Светлый стиль 1 —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8A107856-5554-42FB-B03E-39F5DBC370BA}" styleName="Средний стиль 4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0505E3EF-67EA-436B-97B2-0124C06EBD24}" styleName="Средний стиль 4 — акцент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083E6E3-FA7D-4D7B-A595-EF9225AFEA82}" styleName="Светлый стиль 1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8799B23B-EC83-4686-B30A-512413B5E67A}" styleName="Светлый стиль 3 —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4B1156A-380E-4F78-BDF5-A606A8083BF9}" styleName="Средний стиль 4 —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216" autoAdjust="0"/>
    <p:restoredTop sz="80713" autoAdjust="0"/>
  </p:normalViewPr>
  <p:slideViewPr>
    <p:cSldViewPr>
      <p:cViewPr varScale="1">
        <p:scale>
          <a:sx n="66" d="100"/>
          <a:sy n="66" d="100"/>
        </p:scale>
        <p:origin x="552" y="6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notesViewPr>
    <p:cSldViewPr>
      <p:cViewPr varScale="1">
        <p:scale>
          <a:sx n="83" d="100"/>
          <a:sy n="83" d="100"/>
        </p:scale>
        <p:origin x="-3067" y="-77"/>
      </p:cViewPr>
      <p:guideLst>
        <p:guide orient="horz" pos="3127"/>
        <p:guide pos="2142"/>
        <p:guide orient="horz" pos="3132"/>
        <p:guide pos="213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" Target="slides/slide7.xml"/><Relationship Id="rId39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2.xml"/><Relationship Id="rId34" Type="http://schemas.openxmlformats.org/officeDocument/2006/relationships/slide" Target="slides/slide15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" Target="slides/slide6.xml"/><Relationship Id="rId33" Type="http://schemas.openxmlformats.org/officeDocument/2006/relationships/slide" Target="slides/slide14.xml"/><Relationship Id="rId38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" Target="slides/slide1.xml"/><Relationship Id="rId29" Type="http://schemas.openxmlformats.org/officeDocument/2006/relationships/slide" Target="slides/slide10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5.xml"/><Relationship Id="rId32" Type="http://schemas.openxmlformats.org/officeDocument/2006/relationships/slide" Target="slides/slide13.xml"/><Relationship Id="rId37" Type="http://schemas.openxmlformats.org/officeDocument/2006/relationships/notesMaster" Target="notesMasters/notesMaster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4.xml"/><Relationship Id="rId28" Type="http://schemas.openxmlformats.org/officeDocument/2006/relationships/slide" Target="slides/slide9.xml"/><Relationship Id="rId36" Type="http://schemas.openxmlformats.org/officeDocument/2006/relationships/slide" Target="slides/slide17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3.xml"/><Relationship Id="rId27" Type="http://schemas.openxmlformats.org/officeDocument/2006/relationships/slide" Target="slides/slide8.xml"/><Relationship Id="rId30" Type="http://schemas.openxmlformats.org/officeDocument/2006/relationships/slide" Target="slides/slide11.xml"/><Relationship Id="rId35" Type="http://schemas.openxmlformats.org/officeDocument/2006/relationships/slide" Target="slides/slide16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6CA4D3E-065F-41DB-ACC4-EC6689F0F384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9CF9CBA8-1381-4C0E-AF07-0B4DF8EF337B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000" b="1" dirty="0">
              <a:solidFill>
                <a:srgbClr val="58595B"/>
              </a:solidFill>
            </a:rPr>
            <a:t>1. Обязательность регистрации операций с ЛП всеми участниками оборота</a:t>
          </a:r>
        </a:p>
      </dgm:t>
    </dgm:pt>
    <dgm:pt modelId="{D393C8B6-6AF2-449F-A2DB-6C12C1148B0F}" type="parTrans" cxnId="{78BCC36D-D84B-43A5-86C5-98F2241E78C4}">
      <dgm:prSet/>
      <dgm:spPr/>
      <dgm:t>
        <a:bodyPr/>
        <a:lstStyle/>
        <a:p>
          <a:endParaRPr lang="ru-RU"/>
        </a:p>
      </dgm:t>
    </dgm:pt>
    <dgm:pt modelId="{CDC80C5D-2EAD-489B-8050-E8A688C87BB7}" type="sibTrans" cxnId="{78BCC36D-D84B-43A5-86C5-98F2241E78C4}">
      <dgm:prSet/>
      <dgm:spPr/>
      <dgm:t>
        <a:bodyPr/>
        <a:lstStyle/>
        <a:p>
          <a:endParaRPr lang="ru-RU"/>
        </a:p>
      </dgm:t>
    </dgm:pt>
    <dgm:pt modelId="{E883769F-6ADC-4C71-9F95-BB07E2E8FDA1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600" dirty="0">
              <a:latin typeface="Times New Roman" pitchFamily="18" charset="0"/>
              <a:cs typeface="Times New Roman" pitchFamily="18" charset="0"/>
            </a:rPr>
            <a:t>Позволит получать накладные от поставщика в электронном виде, исключит несоответствия в описаниях ЛП в бумажных документах и учетных системах </a:t>
          </a:r>
        </a:p>
      </dgm:t>
    </dgm:pt>
    <dgm:pt modelId="{24AD54F2-D428-46C1-818F-01C01350A3DE}" type="parTrans" cxnId="{34C70C59-DFA9-4917-AC3B-56BAF3D7A5D1}">
      <dgm:prSet/>
      <dgm:spPr/>
      <dgm:t>
        <a:bodyPr/>
        <a:lstStyle/>
        <a:p>
          <a:endParaRPr lang="ru-RU"/>
        </a:p>
      </dgm:t>
    </dgm:pt>
    <dgm:pt modelId="{60FAD85F-65CB-4473-BB07-A2BF070F558D}" type="sibTrans" cxnId="{34C70C59-DFA9-4917-AC3B-56BAF3D7A5D1}">
      <dgm:prSet/>
      <dgm:spPr/>
      <dgm:t>
        <a:bodyPr/>
        <a:lstStyle/>
        <a:p>
          <a:endParaRPr lang="ru-RU"/>
        </a:p>
      </dgm:t>
    </dgm:pt>
    <dgm:pt modelId="{56238B81-8B1F-4D3E-A2A1-8034509903C4}">
      <dgm:prSet phldrT="[Текст]" custT="1"/>
      <dgm:spPr>
        <a:solidFill>
          <a:srgbClr val="EFEB2E"/>
        </a:solidFill>
      </dgm:spPr>
      <dgm:t>
        <a:bodyPr/>
        <a:lstStyle/>
        <a:p>
          <a:r>
            <a:rPr lang="ru-RU" sz="2000" b="1" dirty="0">
              <a:solidFill>
                <a:srgbClr val="58595B"/>
              </a:solidFill>
            </a:rPr>
            <a:t>2. Появление новых устройств – регистраторов выбытия</a:t>
          </a:r>
        </a:p>
      </dgm:t>
    </dgm:pt>
    <dgm:pt modelId="{F0F8E807-045E-4152-A976-27976E9FE714}" type="parTrans" cxnId="{E2AB928C-7E89-4D62-8E91-B17929C7B3BD}">
      <dgm:prSet/>
      <dgm:spPr/>
      <dgm:t>
        <a:bodyPr/>
        <a:lstStyle/>
        <a:p>
          <a:endParaRPr lang="ru-RU"/>
        </a:p>
      </dgm:t>
    </dgm:pt>
    <dgm:pt modelId="{CCE429A5-D02E-421C-9B78-200F5656C1FA}" type="sibTrans" cxnId="{E2AB928C-7E89-4D62-8E91-B17929C7B3BD}">
      <dgm:prSet/>
      <dgm:spPr/>
      <dgm:t>
        <a:bodyPr/>
        <a:lstStyle/>
        <a:p>
          <a:endParaRPr lang="ru-RU"/>
        </a:p>
      </dgm:t>
    </dgm:pt>
    <dgm:pt modelId="{3FD3EAB6-3FB3-4998-A509-B7164F48BF49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Автоматизирует проверку легальности ЛП</a:t>
          </a:r>
        </a:p>
      </dgm:t>
    </dgm:pt>
    <dgm:pt modelId="{A14488DA-C14B-4C97-8531-F948AA0D51FF}" type="parTrans" cxnId="{ED32A674-F808-46FB-815E-FC328AF328EC}">
      <dgm:prSet/>
      <dgm:spPr/>
      <dgm:t>
        <a:bodyPr/>
        <a:lstStyle/>
        <a:p>
          <a:endParaRPr lang="ru-RU"/>
        </a:p>
      </dgm:t>
    </dgm:pt>
    <dgm:pt modelId="{21AC00B3-28F5-444F-8C37-897C3C7ADA53}" type="sibTrans" cxnId="{ED32A674-F808-46FB-815E-FC328AF328EC}">
      <dgm:prSet/>
      <dgm:spPr/>
      <dgm:t>
        <a:bodyPr/>
        <a:lstStyle/>
        <a:p>
          <a:endParaRPr lang="ru-RU"/>
        </a:p>
      </dgm:t>
    </dgm:pt>
    <dgm:pt modelId="{21CA5284-3E0D-49A2-891D-1454B3CD4AC5}">
      <dgm:prSet phldrT="[Текст]" custT="1"/>
      <dgm:spPr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 spcFirstLastPara="0" vert="horz" wrap="square" lIns="80010" tIns="80010" rIns="80010" bIns="80010" numCol="1" spcCol="1270" anchor="ctr" anchorCtr="0"/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3. Строгая последовательность учета внутреннего движения лекарств</a:t>
          </a:r>
        </a:p>
      </dgm:t>
    </dgm:pt>
    <dgm:pt modelId="{464B108E-2314-46DF-97E8-E89829206826}" type="parTrans" cxnId="{02DE729C-F061-4789-93A7-A6599ABBCC60}">
      <dgm:prSet/>
      <dgm:spPr/>
      <dgm:t>
        <a:bodyPr/>
        <a:lstStyle/>
        <a:p>
          <a:endParaRPr lang="ru-RU"/>
        </a:p>
      </dgm:t>
    </dgm:pt>
    <dgm:pt modelId="{67E47313-5BED-4A95-BD0E-E9A49348FD55}" type="sibTrans" cxnId="{02DE729C-F061-4789-93A7-A6599ABBCC60}">
      <dgm:prSet/>
      <dgm:spPr/>
      <dgm:t>
        <a:bodyPr/>
        <a:lstStyle/>
        <a:p>
          <a:endParaRPr lang="ru-RU"/>
        </a:p>
      </dgm:t>
    </dgm:pt>
    <dgm:pt modelId="{380DD2E2-D792-4270-BDB0-F3FC0BE70FE4}">
      <dgm:prSet phldrT="[Текст]" custT="1"/>
      <dgm:spPr>
        <a:noFill/>
        <a:ln>
          <a:noFill/>
        </a:ln>
        <a:effectLst/>
      </dgm:spPr>
      <dgm:t>
        <a:bodyPr spcFirstLastPara="0" vert="horz" wrap="square" lIns="355271" tIns="27940" rIns="156464" bIns="27940" numCol="1" spcCol="1270" anchor="t" anchorCtr="0"/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Соблюдение последовательности «учет поступления» - «регистрация выбытия» исключит возможность возникновения путаницы при учете ЛП, снижение трудозатрат по заведению приходных документов снимет проблемы в соблюдении правильной последовательности  учета</a:t>
          </a:r>
        </a:p>
      </dgm:t>
    </dgm:pt>
    <dgm:pt modelId="{4B74966B-DF5C-4DD5-9665-B39DEE048622}" type="parTrans" cxnId="{92CFC104-2004-40F3-BB7C-0C37E3C60B71}">
      <dgm:prSet/>
      <dgm:spPr/>
      <dgm:t>
        <a:bodyPr/>
        <a:lstStyle/>
        <a:p>
          <a:endParaRPr lang="ru-RU"/>
        </a:p>
      </dgm:t>
    </dgm:pt>
    <dgm:pt modelId="{8EE93FFC-63C6-4A26-9B06-2FDBB18ECAB8}" type="sibTrans" cxnId="{92CFC104-2004-40F3-BB7C-0C37E3C60B71}">
      <dgm:prSet/>
      <dgm:spPr/>
      <dgm:t>
        <a:bodyPr/>
        <a:lstStyle/>
        <a:p>
          <a:endParaRPr lang="ru-RU"/>
        </a:p>
      </dgm:t>
    </dgm:pt>
    <dgm:pt modelId="{A9A7FCD6-B37C-497A-97DA-CADB64F7CE1B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600" dirty="0">
              <a:latin typeface="Times New Roman" pitchFamily="18" charset="0"/>
              <a:cs typeface="Times New Roman" pitchFamily="18" charset="0"/>
            </a:rPr>
            <a:t>Наличие кода маркировки на 100% ЛП позволит учреждению построить собственный процесс отслеживания внутреннего движения ЛП без затрат на нанесение маркировки</a:t>
          </a:r>
        </a:p>
      </dgm:t>
    </dgm:pt>
    <dgm:pt modelId="{2A040522-3F2C-4801-AD10-0D3AAB0DD3BB}" type="parTrans" cxnId="{DFFC2E68-2A14-41BB-AECB-7EC6A67F34CE}">
      <dgm:prSet/>
      <dgm:spPr/>
      <dgm:t>
        <a:bodyPr/>
        <a:lstStyle/>
        <a:p>
          <a:endParaRPr lang="ru-RU"/>
        </a:p>
      </dgm:t>
    </dgm:pt>
    <dgm:pt modelId="{3A6CB4D9-2031-4E06-805A-7FB3FE959AB1}" type="sibTrans" cxnId="{DFFC2E68-2A14-41BB-AECB-7EC6A67F34CE}">
      <dgm:prSet/>
      <dgm:spPr/>
      <dgm:t>
        <a:bodyPr/>
        <a:lstStyle/>
        <a:p>
          <a:endParaRPr lang="ru-RU"/>
        </a:p>
      </dgm:t>
    </dgm:pt>
    <dgm:pt modelId="{08AFC623-FD8B-488C-81C5-C6CB3CA445D7}">
      <dgm:prSet phldrT="[Текст]" custT="1"/>
      <dgm:spPr/>
      <dgm:t>
        <a:bodyPr/>
        <a:lstStyle/>
        <a:p>
          <a:pPr>
            <a:spcAft>
              <a:spcPts val="600"/>
            </a:spcAft>
          </a:pPr>
          <a:r>
            <a:rPr lang="ru-RU" sz="1800" dirty="0"/>
            <a:t>Позволит автоматизировать массовое выбытие, но эти решения всегда индивидуальны</a:t>
          </a:r>
        </a:p>
      </dgm:t>
    </dgm:pt>
    <dgm:pt modelId="{C18C7CA8-3D54-4D18-AE26-B352CAB63749}" type="parTrans" cxnId="{DF95E12B-2321-4CD5-A62C-460756D89E05}">
      <dgm:prSet/>
      <dgm:spPr/>
      <dgm:t>
        <a:bodyPr/>
        <a:lstStyle/>
        <a:p>
          <a:endParaRPr lang="ru-RU"/>
        </a:p>
      </dgm:t>
    </dgm:pt>
    <dgm:pt modelId="{B71A15C8-EE60-43EC-BA8B-131148CCBB5B}" type="sibTrans" cxnId="{DF95E12B-2321-4CD5-A62C-460756D89E05}">
      <dgm:prSet/>
      <dgm:spPr/>
      <dgm:t>
        <a:bodyPr/>
        <a:lstStyle/>
        <a:p>
          <a:endParaRPr lang="ru-RU"/>
        </a:p>
      </dgm:t>
    </dgm:pt>
    <dgm:pt modelId="{6CD5C316-1DDD-4D96-BAE3-062DCAAC66EB}" type="pres">
      <dgm:prSet presAssocID="{36CA4D3E-065F-41DB-ACC4-EC6689F0F384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48AE99E9-6AC0-4BE1-ADC4-B7A9AA0963DB}" type="pres">
      <dgm:prSet presAssocID="{9CF9CBA8-1381-4C0E-AF07-0B4DF8EF337B}" presName="parentText" presStyleLbl="node1" presStyleIdx="0" presStyleCnt="3" custScaleY="8217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DE61F2F-E993-4BC6-841C-810E4E79B3FB}" type="pres">
      <dgm:prSet presAssocID="{9CF9CBA8-1381-4C0E-AF07-0B4DF8EF337B}" presName="childText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1CF04D7-A973-4019-A9A3-AA935A41830C}" type="pres">
      <dgm:prSet presAssocID="{56238B81-8B1F-4D3E-A2A1-8034509903C4}" presName="parentText" presStyleLbl="node1" presStyleIdx="1" presStyleCnt="3" custScaleY="84345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1F7CC9E-425B-467E-B4F3-BFAB6ED87B8F}" type="pres">
      <dgm:prSet presAssocID="{56238B81-8B1F-4D3E-A2A1-8034509903C4}" presName="childText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1F0DC4-323F-448A-93DA-0E7BEA30137F}" type="pres">
      <dgm:prSet presAssocID="{21CA5284-3E0D-49A2-891D-1454B3CD4AC5}" presName="parentText" presStyleLbl="node1" presStyleIdx="2" presStyleCnt="3">
        <dgm:presLayoutVars>
          <dgm:chMax val="0"/>
          <dgm:bulletEnabled val="1"/>
        </dgm:presLayoutVars>
      </dgm:prSet>
      <dgm:spPr>
        <a:xfrm>
          <a:off x="0" y="3919577"/>
          <a:ext cx="11189636" cy="1155557"/>
        </a:xfrm>
        <a:prstGeom prst="roundRect">
          <a:avLst/>
        </a:prstGeom>
      </dgm:spPr>
      <dgm:t>
        <a:bodyPr/>
        <a:lstStyle/>
        <a:p>
          <a:endParaRPr lang="ru-RU"/>
        </a:p>
      </dgm:t>
    </dgm:pt>
    <dgm:pt modelId="{B7BAFAB1-6AF7-41CD-A3AB-4B5D0F33DC48}" type="pres">
      <dgm:prSet presAssocID="{21CA5284-3E0D-49A2-891D-1454B3CD4AC5}" presName="childText" presStyleLbl="revTx" presStyleIdx="2" presStyleCnt="3">
        <dgm:presLayoutVars>
          <dgm:bulletEnabled val="1"/>
        </dgm:presLayoutVars>
      </dgm:prSet>
      <dgm:spPr>
        <a:xfrm>
          <a:off x="0" y="4315482"/>
          <a:ext cx="11189636" cy="774180"/>
        </a:xfrm>
        <a:prstGeom prst="rect">
          <a:avLst/>
        </a:prstGeom>
      </dgm:spPr>
      <dgm:t>
        <a:bodyPr/>
        <a:lstStyle/>
        <a:p>
          <a:endParaRPr lang="ru-RU"/>
        </a:p>
      </dgm:t>
    </dgm:pt>
  </dgm:ptLst>
  <dgm:cxnLst>
    <dgm:cxn modelId="{92CFC104-2004-40F3-BB7C-0C37E3C60B71}" srcId="{21CA5284-3E0D-49A2-891D-1454B3CD4AC5}" destId="{380DD2E2-D792-4270-BDB0-F3FC0BE70FE4}" srcOrd="0" destOrd="0" parTransId="{4B74966B-DF5C-4DD5-9665-B39DEE048622}" sibTransId="{8EE93FFC-63C6-4A26-9B06-2FDBB18ECAB8}"/>
    <dgm:cxn modelId="{DFFC2E68-2A14-41BB-AECB-7EC6A67F34CE}" srcId="{9CF9CBA8-1381-4C0E-AF07-0B4DF8EF337B}" destId="{A9A7FCD6-B37C-497A-97DA-CADB64F7CE1B}" srcOrd="1" destOrd="0" parTransId="{2A040522-3F2C-4801-AD10-0D3AAB0DD3BB}" sibTransId="{3A6CB4D9-2031-4E06-805A-7FB3FE959AB1}"/>
    <dgm:cxn modelId="{E2AB928C-7E89-4D62-8E91-B17929C7B3BD}" srcId="{36CA4D3E-065F-41DB-ACC4-EC6689F0F384}" destId="{56238B81-8B1F-4D3E-A2A1-8034509903C4}" srcOrd="1" destOrd="0" parTransId="{F0F8E807-045E-4152-A976-27976E9FE714}" sibTransId="{CCE429A5-D02E-421C-9B78-200F5656C1FA}"/>
    <dgm:cxn modelId="{34C70C59-DFA9-4917-AC3B-56BAF3D7A5D1}" srcId="{9CF9CBA8-1381-4C0E-AF07-0B4DF8EF337B}" destId="{E883769F-6ADC-4C71-9F95-BB07E2E8FDA1}" srcOrd="0" destOrd="0" parTransId="{24AD54F2-D428-46C1-818F-01C01350A3DE}" sibTransId="{60FAD85F-65CB-4473-BB07-A2BF070F558D}"/>
    <dgm:cxn modelId="{015CF795-4A58-4100-B85F-7DB86521F8C5}" type="presOf" srcId="{56238B81-8B1F-4D3E-A2A1-8034509903C4}" destId="{A1CF04D7-A973-4019-A9A3-AA935A41830C}" srcOrd="0" destOrd="0" presId="urn:microsoft.com/office/officeart/2005/8/layout/vList2"/>
    <dgm:cxn modelId="{BFD41B69-EE40-4A38-9809-6207B00CF8B8}" type="presOf" srcId="{E883769F-6ADC-4C71-9F95-BB07E2E8FDA1}" destId="{0DE61F2F-E993-4BC6-841C-810E4E79B3FB}" srcOrd="0" destOrd="0" presId="urn:microsoft.com/office/officeart/2005/8/layout/vList2"/>
    <dgm:cxn modelId="{32BC170C-357A-4819-AE51-567E055A271B}" type="presOf" srcId="{36CA4D3E-065F-41DB-ACC4-EC6689F0F384}" destId="{6CD5C316-1DDD-4D96-BAE3-062DCAAC66EB}" srcOrd="0" destOrd="0" presId="urn:microsoft.com/office/officeart/2005/8/layout/vList2"/>
    <dgm:cxn modelId="{ED32A674-F808-46FB-815E-FC328AF328EC}" srcId="{56238B81-8B1F-4D3E-A2A1-8034509903C4}" destId="{3FD3EAB6-3FB3-4998-A509-B7164F48BF49}" srcOrd="0" destOrd="0" parTransId="{A14488DA-C14B-4C97-8531-F948AA0D51FF}" sibTransId="{21AC00B3-28F5-444F-8C37-897C3C7ADA53}"/>
    <dgm:cxn modelId="{02DE729C-F061-4789-93A7-A6599ABBCC60}" srcId="{36CA4D3E-065F-41DB-ACC4-EC6689F0F384}" destId="{21CA5284-3E0D-49A2-891D-1454B3CD4AC5}" srcOrd="2" destOrd="0" parTransId="{464B108E-2314-46DF-97E8-E89829206826}" sibTransId="{67E47313-5BED-4A95-BD0E-E9A49348FD55}"/>
    <dgm:cxn modelId="{DF8593C5-AD09-4629-A536-D0D01636F62A}" type="presOf" srcId="{9CF9CBA8-1381-4C0E-AF07-0B4DF8EF337B}" destId="{48AE99E9-6AC0-4BE1-ADC4-B7A9AA0963DB}" srcOrd="0" destOrd="0" presId="urn:microsoft.com/office/officeart/2005/8/layout/vList2"/>
    <dgm:cxn modelId="{78BCC36D-D84B-43A5-86C5-98F2241E78C4}" srcId="{36CA4D3E-065F-41DB-ACC4-EC6689F0F384}" destId="{9CF9CBA8-1381-4C0E-AF07-0B4DF8EF337B}" srcOrd="0" destOrd="0" parTransId="{D393C8B6-6AF2-449F-A2DB-6C12C1148B0F}" sibTransId="{CDC80C5D-2EAD-489B-8050-E8A688C87BB7}"/>
    <dgm:cxn modelId="{04FFE234-0C1C-46A1-9A96-E7D99DB239AF}" type="presOf" srcId="{380DD2E2-D792-4270-BDB0-F3FC0BE70FE4}" destId="{B7BAFAB1-6AF7-41CD-A3AB-4B5D0F33DC48}" srcOrd="0" destOrd="0" presId="urn:microsoft.com/office/officeart/2005/8/layout/vList2"/>
    <dgm:cxn modelId="{F7A2F7DA-33E2-4594-869D-B71CF2FC29F8}" type="presOf" srcId="{3FD3EAB6-3FB3-4998-A509-B7164F48BF49}" destId="{01F7CC9E-425B-467E-B4F3-BFAB6ED87B8F}" srcOrd="0" destOrd="0" presId="urn:microsoft.com/office/officeart/2005/8/layout/vList2"/>
    <dgm:cxn modelId="{09AF2D09-6F65-45DA-81CC-3992E62D4C90}" type="presOf" srcId="{A9A7FCD6-B37C-497A-97DA-CADB64F7CE1B}" destId="{0DE61F2F-E993-4BC6-841C-810E4E79B3FB}" srcOrd="0" destOrd="1" presId="urn:microsoft.com/office/officeart/2005/8/layout/vList2"/>
    <dgm:cxn modelId="{291B6647-B23D-499A-B1A8-6970A0D93D14}" type="presOf" srcId="{21CA5284-3E0D-49A2-891D-1454B3CD4AC5}" destId="{E61F0DC4-323F-448A-93DA-0E7BEA30137F}" srcOrd="0" destOrd="0" presId="urn:microsoft.com/office/officeart/2005/8/layout/vList2"/>
    <dgm:cxn modelId="{DF95E12B-2321-4CD5-A62C-460756D89E05}" srcId="{56238B81-8B1F-4D3E-A2A1-8034509903C4}" destId="{08AFC623-FD8B-488C-81C5-C6CB3CA445D7}" srcOrd="1" destOrd="0" parTransId="{C18C7CA8-3D54-4D18-AE26-B352CAB63749}" sibTransId="{B71A15C8-EE60-43EC-BA8B-131148CCBB5B}"/>
    <dgm:cxn modelId="{91755C0C-2BA5-4B94-A277-0A5396CF9191}" type="presOf" srcId="{08AFC623-FD8B-488C-81C5-C6CB3CA445D7}" destId="{01F7CC9E-425B-467E-B4F3-BFAB6ED87B8F}" srcOrd="0" destOrd="1" presId="urn:microsoft.com/office/officeart/2005/8/layout/vList2"/>
    <dgm:cxn modelId="{C9AB5013-9B96-4581-970D-D7FF06EFE6E1}" type="presParOf" srcId="{6CD5C316-1DDD-4D96-BAE3-062DCAAC66EB}" destId="{48AE99E9-6AC0-4BE1-ADC4-B7A9AA0963DB}" srcOrd="0" destOrd="0" presId="urn:microsoft.com/office/officeart/2005/8/layout/vList2"/>
    <dgm:cxn modelId="{19F6E3D8-2239-40F6-A42C-4F87ED7D3B40}" type="presParOf" srcId="{6CD5C316-1DDD-4D96-BAE3-062DCAAC66EB}" destId="{0DE61F2F-E993-4BC6-841C-810E4E79B3FB}" srcOrd="1" destOrd="0" presId="urn:microsoft.com/office/officeart/2005/8/layout/vList2"/>
    <dgm:cxn modelId="{8AE35CB8-730E-47BE-A9AB-8D7E7E2F8AAA}" type="presParOf" srcId="{6CD5C316-1DDD-4D96-BAE3-062DCAAC66EB}" destId="{A1CF04D7-A973-4019-A9A3-AA935A41830C}" srcOrd="2" destOrd="0" presId="urn:microsoft.com/office/officeart/2005/8/layout/vList2"/>
    <dgm:cxn modelId="{C209A645-FCDC-4006-8BBB-7AD63C662AE1}" type="presParOf" srcId="{6CD5C316-1DDD-4D96-BAE3-062DCAAC66EB}" destId="{01F7CC9E-425B-467E-B4F3-BFAB6ED87B8F}" srcOrd="3" destOrd="0" presId="urn:microsoft.com/office/officeart/2005/8/layout/vList2"/>
    <dgm:cxn modelId="{3423BB01-02DF-476C-8D36-CE1FFDECC8F5}" type="presParOf" srcId="{6CD5C316-1DDD-4D96-BAE3-062DCAAC66EB}" destId="{E61F0DC4-323F-448A-93DA-0E7BEA30137F}" srcOrd="4" destOrd="0" presId="urn:microsoft.com/office/officeart/2005/8/layout/vList2"/>
    <dgm:cxn modelId="{9FE23E96-BC0F-4819-8F4D-6DF58B393A95}" type="presParOf" srcId="{6CD5C316-1DDD-4D96-BAE3-062DCAAC66EB}" destId="{B7BAFAB1-6AF7-41CD-A3AB-4B5D0F33DC48}" srcOrd="5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8AE99E9-6AC0-4BE1-ADC4-B7A9AA0963DB}">
      <dsp:nvSpPr>
        <dsp:cNvPr id="0" name=""/>
        <dsp:cNvSpPr/>
      </dsp:nvSpPr>
      <dsp:spPr>
        <a:xfrm>
          <a:off x="0" y="247"/>
          <a:ext cx="8392228" cy="694050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58595B"/>
              </a:solidFill>
            </a:rPr>
            <a:t>1. Обязательность регистрации операций с ЛП всеми участниками оборота</a:t>
          </a:r>
        </a:p>
      </dsp:txBody>
      <dsp:txXfrm>
        <a:off x="33881" y="34128"/>
        <a:ext cx="8324466" cy="626288"/>
      </dsp:txXfrm>
    </dsp:sp>
    <dsp:sp modelId="{0DE61F2F-E993-4BC6-841C-810E4E79B3FB}">
      <dsp:nvSpPr>
        <dsp:cNvPr id="0" name=""/>
        <dsp:cNvSpPr/>
      </dsp:nvSpPr>
      <dsp:spPr>
        <a:xfrm>
          <a:off x="0" y="694298"/>
          <a:ext cx="8392228" cy="89754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453" tIns="20320" rIns="113792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600" kern="1200" dirty="0">
              <a:latin typeface="Times New Roman" pitchFamily="18" charset="0"/>
              <a:cs typeface="Times New Roman" pitchFamily="18" charset="0"/>
            </a:rPr>
            <a:t>Позволит получать накладные от поставщика в электронном виде, исключит несоответствия в описаниях ЛП в бумажных документах и учетных системах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600" kern="1200" dirty="0">
              <a:latin typeface="Times New Roman" pitchFamily="18" charset="0"/>
              <a:cs typeface="Times New Roman" pitchFamily="18" charset="0"/>
            </a:rPr>
            <a:t>Наличие кода маркировки на 100% ЛП позволит учреждению построить собственный процесс отслеживания внутреннего движения ЛП без затрат на нанесение маркировки</a:t>
          </a:r>
        </a:p>
      </dsp:txBody>
      <dsp:txXfrm>
        <a:off x="0" y="694298"/>
        <a:ext cx="8392228" cy="897541"/>
      </dsp:txXfrm>
    </dsp:sp>
    <dsp:sp modelId="{A1CF04D7-A973-4019-A9A3-AA935A41830C}">
      <dsp:nvSpPr>
        <dsp:cNvPr id="0" name=""/>
        <dsp:cNvSpPr/>
      </dsp:nvSpPr>
      <dsp:spPr>
        <a:xfrm>
          <a:off x="0" y="1591840"/>
          <a:ext cx="8392228" cy="712387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000" b="1" kern="1200" dirty="0">
              <a:solidFill>
                <a:srgbClr val="58595B"/>
              </a:solidFill>
            </a:rPr>
            <a:t>2. Появление новых устройств – регистраторов выбытия</a:t>
          </a:r>
        </a:p>
      </dsp:txBody>
      <dsp:txXfrm>
        <a:off x="34776" y="1626616"/>
        <a:ext cx="8322676" cy="642835"/>
      </dsp:txXfrm>
    </dsp:sp>
    <dsp:sp modelId="{01F7CC9E-425B-467E-B4F3-BFAB6ED87B8F}">
      <dsp:nvSpPr>
        <dsp:cNvPr id="0" name=""/>
        <dsp:cNvSpPr/>
      </dsp:nvSpPr>
      <dsp:spPr>
        <a:xfrm>
          <a:off x="0" y="2304227"/>
          <a:ext cx="8392228" cy="782961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66453" tIns="22860" rIns="128016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800" kern="1200" dirty="0"/>
            <a:t>Автоматизирует проверку легальности ЛП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800" kern="1200" dirty="0"/>
            <a:t>Позволит автоматизировать массовое выбытие, но эти решения всегда индивидуальны</a:t>
          </a:r>
        </a:p>
      </dsp:txBody>
      <dsp:txXfrm>
        <a:off x="0" y="2304227"/>
        <a:ext cx="8392228" cy="782961"/>
      </dsp:txXfrm>
    </dsp:sp>
    <dsp:sp modelId="{E61F0DC4-323F-448A-93DA-0E7BEA30137F}">
      <dsp:nvSpPr>
        <dsp:cNvPr id="0" name=""/>
        <dsp:cNvSpPr/>
      </dsp:nvSpPr>
      <dsp:spPr>
        <a:xfrm>
          <a:off x="0" y="3087189"/>
          <a:ext cx="8392228" cy="844611"/>
        </a:xfrm>
        <a:prstGeom prst="roundRect">
          <a:avLst/>
        </a:prstGeom>
        <a:solidFill>
          <a:srgbClr val="EFEB2E"/>
        </a:solidFill>
        <a:ln w="10795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marL="0" lvl="0" indent="0" algn="l" defTabSz="9334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b="1" kern="1200" dirty="0">
              <a:solidFill>
                <a:srgbClr val="58595B"/>
              </a:solidFill>
              <a:latin typeface="PT Sans Caption"/>
              <a:ea typeface="+mn-ea"/>
              <a:cs typeface="+mn-cs"/>
            </a:rPr>
            <a:t>3. Строгая последовательность учета внутреннего движения лекарств</a:t>
          </a:r>
        </a:p>
      </dsp:txBody>
      <dsp:txXfrm>
        <a:off x="41231" y="3128420"/>
        <a:ext cx="8309766" cy="762149"/>
      </dsp:txXfrm>
    </dsp:sp>
    <dsp:sp modelId="{B7BAFAB1-6AF7-41CD-A3AB-4B5D0F33DC48}">
      <dsp:nvSpPr>
        <dsp:cNvPr id="0" name=""/>
        <dsp:cNvSpPr/>
      </dsp:nvSpPr>
      <dsp:spPr>
        <a:xfrm>
          <a:off x="0" y="3931800"/>
          <a:ext cx="8392228" cy="116489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55271" tIns="27940" rIns="156464" bIns="27940" numCol="1" spcCol="1270" anchor="t" anchorCtr="0">
          <a:noAutofit/>
        </a:bodyPr>
        <a:lstStyle/>
        <a:p>
          <a:pPr marL="228600" lvl="1" indent="-228600" algn="l" defTabSz="933450">
            <a:lnSpc>
              <a:spcPct val="90000"/>
            </a:lnSpc>
            <a:spcBef>
              <a:spcPct val="0"/>
            </a:spcBef>
            <a:spcAft>
              <a:spcPts val="600"/>
            </a:spcAft>
            <a:buChar char="••"/>
          </a:pPr>
          <a:r>
            <a:rPr lang="ru-RU" sz="1800" kern="1200" dirty="0">
              <a:solidFill>
                <a:srgbClr val="595959">
                  <a:hueOff val="0"/>
                  <a:satOff val="0"/>
                  <a:lumOff val="0"/>
                  <a:alphaOff val="0"/>
                </a:srgbClr>
              </a:solidFill>
              <a:latin typeface="PT Sans Caption"/>
              <a:ea typeface="+mn-ea"/>
              <a:cs typeface="+mn-cs"/>
            </a:rPr>
            <a:t>Соблюдение последовательности «учет поступления» - «регистрация выбытия» исключит возможность возникновения путаницы при учете ЛП, снижение трудозатрат по заведению приходных документов снимет проблемы в соблюдении правильной последовательности  учета</a:t>
          </a:r>
        </a:p>
      </dsp:txBody>
      <dsp:txXfrm>
        <a:off x="0" y="3931800"/>
        <a:ext cx="8392228" cy="116489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712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762" y="0"/>
            <a:ext cx="2929837" cy="497126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2695E72F-0004-4388-8F4C-67C84D032F8E}" type="datetimeFigureOut">
              <a:rPr lang="ru-RU" smtClean="0"/>
              <a:pPr/>
              <a:t>21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3662"/>
            <a:ext cx="2929837" cy="49712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762" y="9443662"/>
            <a:ext cx="2929837" cy="497126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8FB6598B-7D94-43FB-9FBF-632D67C5CFD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003746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29837" cy="49665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762" y="0"/>
            <a:ext cx="2929837" cy="496650"/>
          </a:xfrm>
          <a:prstGeom prst="rect">
            <a:avLst/>
          </a:prstGeom>
        </p:spPr>
        <p:txBody>
          <a:bodyPr vert="horz" lIns="90882" tIns="45441" rIns="90882" bIns="45441" rtlCol="0"/>
          <a:lstStyle>
            <a:lvl1pPr algn="r">
              <a:defRPr sz="1200"/>
            </a:lvl1pPr>
          </a:lstStyle>
          <a:p>
            <a:fld id="{50533E26-8204-4D51-B717-5676376E12D2}" type="datetimeFigureOut">
              <a:rPr lang="ru-RU" smtClean="0"/>
              <a:pPr/>
              <a:t>21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3763" y="746125"/>
            <a:ext cx="4973637" cy="3729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82" tIns="45441" rIns="90882" bIns="4544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117" y="4722139"/>
            <a:ext cx="5408930" cy="4474607"/>
          </a:xfrm>
          <a:prstGeom prst="rect">
            <a:avLst/>
          </a:prstGeom>
        </p:spPr>
        <p:txBody>
          <a:bodyPr vert="horz" lIns="90882" tIns="45441" rIns="90882" bIns="4544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4277"/>
            <a:ext cx="2929837" cy="49665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762" y="9444277"/>
            <a:ext cx="2929837" cy="496650"/>
          </a:xfrm>
          <a:prstGeom prst="rect">
            <a:avLst/>
          </a:prstGeom>
        </p:spPr>
        <p:txBody>
          <a:bodyPr vert="horz" lIns="90882" tIns="45441" rIns="90882" bIns="45441" rtlCol="0" anchor="b"/>
          <a:lstStyle>
            <a:lvl1pPr algn="r">
              <a:defRPr sz="1200"/>
            </a:lvl1pPr>
          </a:lstStyle>
          <a:p>
            <a:fld id="{B544D9F5-3676-48A6-B5DF-3F4DF112341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2167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31A6AB150A93A95BE676B1B60029EB3C9F46AE99E9F211FED16367C6C48EC50F103F0021403DA033592FF77172E576595401152FA033y7EDH" TargetMode="External"/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4D9F5-3676-48A6-B5DF-3F4DF1123416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3543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 smtClean="0">
              <a:effectLst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29580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В соответствии с п .9 статьи 8 </a:t>
            </a:r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«Уведомление о начале осуществления отдельных видов предпринимательской деятельности»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юридические лица, индивидуальные предприниматели, которые осуществляют виды деятельности, указанные в части 2 настоящей статьи, в случае непредставления уведомлений о начале осуществления отдельных видов предпринимательской деятельности или представления таких уведомлений с содержанием в них недостоверных сведений несут ответственность в соответствии с законодательством Российской Федерации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1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Надо сказать, что за нарушение статьи 8 Закона N 294-ФЗ  привлечение к административной ответственности по статье 19.7.5-1 КоАП РФ затруднено в связи с небольшим сроком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оответственно, в случае выявления нарушения по истечению </a:t>
            </a:r>
            <a:r>
              <a:rPr lang="ru-RU" sz="1200" b="1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3-х месяцев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с </a:t>
            </a:r>
            <a:r>
              <a:rPr lang="ru-RU" sz="1200" b="1" i="0" u="sng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даты фактического выполнения работ или услуг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лицо не привлекается к административной ответственности по </a:t>
            </a:r>
            <a:r>
              <a:rPr lang="ru-RU" sz="1200" b="0" i="0" u="none" strike="noStrike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hlinkClick r:id="rId3"/>
              </a:rPr>
              <a:t>статье 19.7.5-1 КоАП РФ в связи с истечением срока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194656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4D9F5-3676-48A6-B5DF-3F4DF1123416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43886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4D9F5-3676-48A6-B5DF-3F4DF1123416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33652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44D9F5-3676-48A6-B5DF-3F4DF1123416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62789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60773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/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января 2019 года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упили в силу изменения, внесенные в Правила представления уведомлений о начале осуществления отдельных видов предпринимательской деятельности и учета указанных уведомлений, утвержденные постановлением Правительства Российской Федерации от 16 июля 2009 г. № 584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наделения полномочиями по приему и учету уведомлений о начале осуществления деятельности в сфере обращения медицинских изделий территориальных органов Росздравнадзора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lang="ru-RU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ru-RU" sz="1200" b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дготовлены внесения изменений в </a:t>
            </a:r>
            <a:r>
              <a:rPr lang="ru-RU" sz="12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тивный регламент Федеральной службы по надзору в сфере здравоохранения по предоставлению государственной услуги по приему и учету уведомлений о начале осуществления деятельности в сфере обращения медицинских изделий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за исключением проведения клинических испытаний медицинских изделий, их производства, монтажа, наладки, применения, эксплуатации, в том числе технического обслуживания, а также ремонта), утвержденный приказом Минздрава России от 11.03.2016 № 155н.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endParaRPr lang="ru-RU" sz="120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endParaRPr lang="ru-RU" b="0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altLang="ru-RU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8339261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Форма уведомления должна соответствовать Приложение </a:t>
            </a:r>
            <a:r>
              <a:rPr lang="en-US" dirty="0" smtClean="0"/>
              <a:t>N 2</a:t>
            </a:r>
            <a:r>
              <a:rPr lang="ru-RU" dirty="0" smtClean="0"/>
              <a:t> к Правилам представления уведомлений о начале осуществления отдельных видов предпринимательской деятельности и учета указанных уведомлений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275571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023015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698635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dirty="0" smtClean="0">
                <a:latin typeface="Arial" panose="020B0604020202020204" pitchFamily="34" charset="0"/>
                <a:cs typeface="Arial" panose="020B0604020202020204" pitchFamily="34" charset="0"/>
              </a:rPr>
              <a:t>Разъяснения, ответы на часто задаваемые вопросы  и форма уведомления о начале осуществления деятельности в сфере обращения медицинских изделий размещены на официальном сайте Росздравнадзора www.roszdravnadzor.ru </a:t>
            </a:r>
            <a:r>
              <a:rPr lang="ru-RU" sz="1200" dirty="0" smtClean="0">
                <a:effectLst/>
              </a:rPr>
              <a:t>в разделе «Медицинские изделия» → «Уведомления о начале осуществления деятельности в сфере обращения медицинских изделий». Просьба до</a:t>
            </a:r>
            <a:r>
              <a:rPr lang="ru-RU" sz="1200" baseline="0" dirty="0" smtClean="0">
                <a:effectLst/>
              </a:rPr>
              <a:t> проведения обучения ознакомиться с данным разделом и соответствующим реестром. </a:t>
            </a:r>
            <a:endParaRPr lang="ru-RU" dirty="0" smtClean="0">
              <a:effectLst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200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44D9F5-3676-48A6-B5DF-3F4DF1123416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13467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92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50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5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95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52.vml"/><Relationship Id="rId1" Type="http://schemas.openxmlformats.org/officeDocument/2006/relationships/themeOverride" Target="../theme/themeOverride24.xml"/><Relationship Id="rId6" Type="http://schemas.openxmlformats.org/officeDocument/2006/relationships/oleObject" Target="../embeddings/oleObject5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6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53.vml"/><Relationship Id="rId1" Type="http://schemas.openxmlformats.org/officeDocument/2006/relationships/themeOverride" Target="../theme/themeOverride25.x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98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6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58.vml"/><Relationship Id="rId1" Type="http://schemas.openxmlformats.org/officeDocument/2006/relationships/themeOverride" Target="../theme/themeOverride26.xml"/><Relationship Id="rId6" Type="http://schemas.openxmlformats.org/officeDocument/2006/relationships/oleObject" Target="../embeddings/oleObject5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0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2" Type="http://schemas.openxmlformats.org/officeDocument/2006/relationships/vmlDrawing" Target="../drawings/vmlDrawing59.vml"/><Relationship Id="rId1" Type="http://schemas.openxmlformats.org/officeDocument/2006/relationships/themeOverride" Target="../theme/themeOverride27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2" Type="http://schemas.openxmlformats.org/officeDocument/2006/relationships/vmlDrawing" Target="../drawings/vmlDrawing60.vml"/><Relationship Id="rId1" Type="http://schemas.openxmlformats.org/officeDocument/2006/relationships/themeOverride" Target="../theme/themeOverride2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0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61.vml"/><Relationship Id="rId1" Type="http://schemas.openxmlformats.org/officeDocument/2006/relationships/themeOverride" Target="../theme/themeOverride29.xml"/><Relationship Id="rId6" Type="http://schemas.openxmlformats.org/officeDocument/2006/relationships/oleObject" Target="../embeddings/oleObject6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1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16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65.vml"/><Relationship Id="rId1" Type="http://schemas.openxmlformats.org/officeDocument/2006/relationships/themeOverride" Target="../theme/themeOverride30.xml"/><Relationship Id="rId6" Type="http://schemas.openxmlformats.org/officeDocument/2006/relationships/oleObject" Target="../embeddings/oleObject6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66.vml"/><Relationship Id="rId1" Type="http://schemas.openxmlformats.org/officeDocument/2006/relationships/themeOverride" Target="../theme/themeOverride3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6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6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6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6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27.xml"/><Relationship Id="rId2" Type="http://schemas.openxmlformats.org/officeDocument/2006/relationships/vmlDrawing" Target="../drawings/vmlDrawing72.vml"/><Relationship Id="rId1" Type="http://schemas.openxmlformats.org/officeDocument/2006/relationships/themeOverride" Target="../theme/themeOverride32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6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3.vml"/><Relationship Id="rId1" Type="http://schemas.openxmlformats.org/officeDocument/2006/relationships/themeOverride" Target="../theme/themeOverride33.xml"/><Relationship Id="rId6" Type="http://schemas.openxmlformats.org/officeDocument/2006/relationships/oleObject" Target="../embeddings/oleObject7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29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4.vml"/><Relationship Id="rId1" Type="http://schemas.openxmlformats.org/officeDocument/2006/relationships/themeOverride" Target="../theme/themeOverride34.xml"/><Relationship Id="rId6" Type="http://schemas.openxmlformats.org/officeDocument/2006/relationships/oleObject" Target="../embeddings/oleObject7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1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5.vml"/><Relationship Id="rId1" Type="http://schemas.openxmlformats.org/officeDocument/2006/relationships/themeOverride" Target="../theme/themeOverride35.xml"/><Relationship Id="rId6" Type="http://schemas.openxmlformats.org/officeDocument/2006/relationships/oleObject" Target="../embeddings/oleObject7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3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6.vml"/><Relationship Id="rId1" Type="http://schemas.openxmlformats.org/officeDocument/2006/relationships/themeOverride" Target="../theme/themeOverride36.xml"/><Relationship Id="rId6" Type="http://schemas.openxmlformats.org/officeDocument/2006/relationships/oleObject" Target="../embeddings/oleObject7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5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3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7.vml"/><Relationship Id="rId1" Type="http://schemas.openxmlformats.org/officeDocument/2006/relationships/themeOverride" Target="../theme/themeOverride37.xml"/><Relationship Id="rId6" Type="http://schemas.openxmlformats.org/officeDocument/2006/relationships/oleObject" Target="../embeddings/oleObject7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7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3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8.vml"/><Relationship Id="rId1" Type="http://schemas.openxmlformats.org/officeDocument/2006/relationships/themeOverride" Target="../theme/themeOverride38.xml"/><Relationship Id="rId6" Type="http://schemas.openxmlformats.org/officeDocument/2006/relationships/oleObject" Target="../embeddings/oleObject7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3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13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6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42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80.vml"/><Relationship Id="rId1" Type="http://schemas.openxmlformats.org/officeDocument/2006/relationships/themeOverride" Target="../theme/themeOverride39.xml"/><Relationship Id="rId6" Type="http://schemas.openxmlformats.org/officeDocument/2006/relationships/oleObject" Target="../embeddings/oleObject8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3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7" Type="http://schemas.openxmlformats.org/officeDocument/2006/relationships/image" Target="../media/image13.png"/><Relationship Id="rId2" Type="http://schemas.openxmlformats.org/officeDocument/2006/relationships/tags" Target="../tags/tag144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4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2.vml"/><Relationship Id="rId1" Type="http://schemas.openxmlformats.org/officeDocument/2006/relationships/themeOverride" Target="../theme/themeOverride40.xml"/><Relationship Id="rId6" Type="http://schemas.openxmlformats.org/officeDocument/2006/relationships/oleObject" Target="../embeddings/oleObject8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47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13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5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4.vml"/><Relationship Id="rId1" Type="http://schemas.openxmlformats.org/officeDocument/2006/relationships/themeOverride" Target="../theme/themeOverride41.xml"/><Relationship Id="rId6" Type="http://schemas.openxmlformats.org/officeDocument/2006/relationships/oleObject" Target="../embeddings/oleObject8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1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tags" Target="../tags/tag153.xml"/><Relationship Id="rId7" Type="http://schemas.openxmlformats.org/officeDocument/2006/relationships/image" Target="../media/image13.png"/><Relationship Id="rId2" Type="http://schemas.openxmlformats.org/officeDocument/2006/relationships/tags" Target="../tags/tag152.xml"/><Relationship Id="rId1" Type="http://schemas.openxmlformats.org/officeDocument/2006/relationships/vmlDrawing" Target="../drawings/vmlDrawing8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6.vml"/><Relationship Id="rId1" Type="http://schemas.openxmlformats.org/officeDocument/2006/relationships/themeOverride" Target="../theme/themeOverride42.xml"/><Relationship Id="rId6" Type="http://schemas.openxmlformats.org/officeDocument/2006/relationships/oleObject" Target="../embeddings/oleObject8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55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8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162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91.vml"/><Relationship Id="rId1" Type="http://schemas.openxmlformats.org/officeDocument/2006/relationships/themeOverride" Target="../theme/themeOverride43.xml"/><Relationship Id="rId6" Type="http://schemas.openxmlformats.org/officeDocument/2006/relationships/oleObject" Target="../embeddings/oleObject9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64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167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3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170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95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98.bin"/><Relationship Id="rId4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9.bin"/></Relationships>
</file>

<file path=ppt/slideLayouts/_rels/slideLayout1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7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0.vml"/><Relationship Id="rId1" Type="http://schemas.openxmlformats.org/officeDocument/2006/relationships/themeOverride" Target="../theme/themeOverride44.xml"/><Relationship Id="rId6" Type="http://schemas.openxmlformats.org/officeDocument/2006/relationships/oleObject" Target="../embeddings/oleObject10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79.xml"/></Relationships>
</file>

<file path=ppt/slideLayouts/_rels/slideLayout1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1.vml"/><Relationship Id="rId1" Type="http://schemas.openxmlformats.org/officeDocument/2006/relationships/themeOverride" Target="../theme/themeOverride45.x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1.xml"/></Relationships>
</file>

<file path=ppt/slideLayouts/_rels/slideLayout1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2.vml"/><Relationship Id="rId1" Type="http://schemas.openxmlformats.org/officeDocument/2006/relationships/themeOverride" Target="../theme/themeOverride46.xml"/><Relationship Id="rId6" Type="http://schemas.openxmlformats.org/officeDocument/2006/relationships/oleObject" Target="../embeddings/oleObject10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3.xml"/></Relationships>
</file>

<file path=ppt/slideLayouts/_rels/slideLayout15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3.vml"/><Relationship Id="rId1" Type="http://schemas.openxmlformats.org/officeDocument/2006/relationships/themeOverride" Target="../theme/themeOverride47.xml"/><Relationship Id="rId6" Type="http://schemas.openxmlformats.org/officeDocument/2006/relationships/oleObject" Target="../embeddings/oleObject103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5.xml"/></Relationships>
</file>

<file path=ppt/slideLayouts/_rels/slideLayout1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4.vml"/><Relationship Id="rId1" Type="http://schemas.openxmlformats.org/officeDocument/2006/relationships/themeOverride" Target="../theme/themeOverride48.xml"/><Relationship Id="rId6" Type="http://schemas.openxmlformats.org/officeDocument/2006/relationships/oleObject" Target="../embeddings/oleObject10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7.xml"/></Relationships>
</file>

<file path=ppt/slideLayouts/_rels/slideLayout15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5.vml"/><Relationship Id="rId1" Type="http://schemas.openxmlformats.org/officeDocument/2006/relationships/themeOverride" Target="../theme/themeOverride49.x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89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0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06.vml"/><Relationship Id="rId1" Type="http://schemas.openxmlformats.org/officeDocument/2006/relationships/themeOverride" Target="../theme/themeOverride50.xml"/><Relationship Id="rId6" Type="http://schemas.openxmlformats.org/officeDocument/2006/relationships/oleObject" Target="../embeddings/oleObject106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9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13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7.bin"/><Relationship Id="rId4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9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8.vml"/><Relationship Id="rId1" Type="http://schemas.openxmlformats.org/officeDocument/2006/relationships/themeOverride" Target="../theme/themeOverride51.xml"/><Relationship Id="rId6" Type="http://schemas.openxmlformats.org/officeDocument/2006/relationships/oleObject" Target="../embeddings/oleObject10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9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13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9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0.vml"/><Relationship Id="rId1" Type="http://schemas.openxmlformats.org/officeDocument/2006/relationships/themeOverride" Target="../theme/themeOverride52.xml"/><Relationship Id="rId6" Type="http://schemas.openxmlformats.org/officeDocument/2006/relationships/oleObject" Target="../embeddings/oleObject110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199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13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2.vml"/><Relationship Id="rId1" Type="http://schemas.openxmlformats.org/officeDocument/2006/relationships/themeOverride" Target="../theme/themeOverride53.xml"/><Relationship Id="rId6" Type="http://schemas.openxmlformats.org/officeDocument/2006/relationships/oleObject" Target="../embeddings/oleObject11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03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13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tags" Target="../tags/tag20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4.vml"/><Relationship Id="rId1" Type="http://schemas.openxmlformats.org/officeDocument/2006/relationships/themeOverride" Target="../theme/themeOverride54.xml"/><Relationship Id="rId6" Type="http://schemas.openxmlformats.org/officeDocument/2006/relationships/oleObject" Target="../embeddings/oleObject11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07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1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16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13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8.vml"/><Relationship Id="rId1" Type="http://schemas.openxmlformats.org/officeDocument/2006/relationships/themeOverride" Target="../theme/themeOverride55.xml"/><Relationship Id="rId6" Type="http://schemas.openxmlformats.org/officeDocument/2006/relationships/oleObject" Target="../embeddings/oleObject118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tags" Target="../tags/tag215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9.vml"/><Relationship Id="rId1" Type="http://schemas.openxmlformats.org/officeDocument/2006/relationships/themeOverride" Target="../theme/themeOverride56.xml"/><Relationship Id="rId6" Type="http://schemas.openxmlformats.org/officeDocument/2006/relationships/oleObject" Target="../embeddings/oleObject119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16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tags" Target="../tags/tag220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9.png"/><Relationship Id="rId2" Type="http://schemas.openxmlformats.org/officeDocument/2006/relationships/tags" Target="../tags/tag221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2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tags" Target="../tags/tag223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tags" Target="../tags/tag224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124.vml"/><Relationship Id="rId1" Type="http://schemas.openxmlformats.org/officeDocument/2006/relationships/themeOverride" Target="../theme/themeOverride57.xml"/><Relationship Id="rId6" Type="http://schemas.openxmlformats.org/officeDocument/2006/relationships/oleObject" Target="../embeddings/oleObject124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25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vmlDrawing" Target="../drawings/vmlDrawing125.vml"/><Relationship Id="rId1" Type="http://schemas.openxmlformats.org/officeDocument/2006/relationships/themeOverride" Target="../theme/themeOverride5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tags" Target="../tags/tag227.xml"/><Relationship Id="rId2" Type="http://schemas.openxmlformats.org/officeDocument/2006/relationships/vmlDrawing" Target="../drawings/vmlDrawing126.vml"/><Relationship Id="rId1" Type="http://schemas.openxmlformats.org/officeDocument/2006/relationships/themeOverride" Target="../theme/themeOverride59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28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127.vml"/><Relationship Id="rId1" Type="http://schemas.openxmlformats.org/officeDocument/2006/relationships/themeOverride" Target="../theme/themeOverride60.xml"/><Relationship Id="rId6" Type="http://schemas.openxmlformats.org/officeDocument/2006/relationships/oleObject" Target="../embeddings/oleObject127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29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9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0.bin"/></Relationships>
</file>

<file path=ppt/slideLayouts/_rels/slideLayout1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34.xml"/><Relationship Id="rId7" Type="http://schemas.openxmlformats.org/officeDocument/2006/relationships/image" Target="../media/image6.emf"/><Relationship Id="rId2" Type="http://schemas.openxmlformats.org/officeDocument/2006/relationships/vmlDrawing" Target="../drawings/vmlDrawing131.vml"/><Relationship Id="rId1" Type="http://schemas.openxmlformats.org/officeDocument/2006/relationships/themeOverride" Target="../theme/themeOverride61.xml"/><Relationship Id="rId6" Type="http://schemas.openxmlformats.org/officeDocument/2006/relationships/oleObject" Target="../embeddings/oleObject131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235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7" Type="http://schemas.openxmlformats.org/officeDocument/2006/relationships/image" Target="../media/image12.png"/><Relationship Id="rId2" Type="http://schemas.openxmlformats.org/officeDocument/2006/relationships/vmlDrawing" Target="../drawings/vmlDrawing132.vml"/><Relationship Id="rId1" Type="http://schemas.openxmlformats.org/officeDocument/2006/relationships/themeOverride" Target="../theme/themeOverride62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132.bin"/><Relationship Id="rId4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2" Type="http://schemas.openxmlformats.org/officeDocument/2006/relationships/vmlDrawing" Target="../drawings/vmlDrawing6.v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7.vml"/><Relationship Id="rId1" Type="http://schemas.openxmlformats.org/officeDocument/2006/relationships/themeOverride" Target="../theme/themeOverride2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1.xml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8.vml"/><Relationship Id="rId1" Type="http://schemas.openxmlformats.org/officeDocument/2006/relationships/themeOverride" Target="../theme/themeOverride3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9.vml"/><Relationship Id="rId1" Type="http://schemas.openxmlformats.org/officeDocument/2006/relationships/themeOverride" Target="../theme/themeOverride4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5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0.vml"/><Relationship Id="rId1" Type="http://schemas.openxmlformats.org/officeDocument/2006/relationships/themeOverride" Target="../theme/themeOverride5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7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1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1.vml"/><Relationship Id="rId1" Type="http://schemas.openxmlformats.org/officeDocument/2006/relationships/themeOverride" Target="../theme/themeOverride6.xml"/><Relationship Id="rId6" Type="http://schemas.openxmlformats.org/officeDocument/2006/relationships/oleObject" Target="../embeddings/oleObject1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19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2.vml"/><Relationship Id="rId1" Type="http://schemas.openxmlformats.org/officeDocument/2006/relationships/themeOverride" Target="../theme/themeOverride7.xml"/><Relationship Id="rId6" Type="http://schemas.openxmlformats.org/officeDocument/2006/relationships/oleObject" Target="../embeddings/oleObject1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13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4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14.vml"/><Relationship Id="rId1" Type="http://schemas.openxmlformats.org/officeDocument/2006/relationships/themeOverride" Target="../theme/themeOverride8.xml"/><Relationship Id="rId6" Type="http://schemas.openxmlformats.org/officeDocument/2006/relationships/oleObject" Target="../embeddings/oleObject1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13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6.vml"/><Relationship Id="rId1" Type="http://schemas.openxmlformats.org/officeDocument/2006/relationships/themeOverride" Target="../theme/themeOverride9.xml"/><Relationship Id="rId6" Type="http://schemas.openxmlformats.org/officeDocument/2006/relationships/oleObject" Target="../embeddings/oleObject1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2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13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3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18.vml"/><Relationship Id="rId1" Type="http://schemas.openxmlformats.org/officeDocument/2006/relationships/themeOverride" Target="../theme/themeOverride10.xml"/><Relationship Id="rId6" Type="http://schemas.openxmlformats.org/officeDocument/2006/relationships/oleObject" Target="../embeddings/oleObject1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7" Type="http://schemas.openxmlformats.org/officeDocument/2006/relationships/image" Target="../media/image13.png"/><Relationship Id="rId2" Type="http://schemas.openxmlformats.org/officeDocument/2006/relationships/tags" Target="../tags/tag34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20.vml"/><Relationship Id="rId1" Type="http://schemas.openxmlformats.org/officeDocument/2006/relationships/themeOverride" Target="../theme/themeOverride11.xml"/><Relationship Id="rId6" Type="http://schemas.openxmlformats.org/officeDocument/2006/relationships/oleObject" Target="../embeddings/oleObject2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1.png"/><Relationship Id="rId5" Type="http://schemas.openxmlformats.org/officeDocument/2006/relationships/image" Target="../media/image14.emf"/><Relationship Id="rId4" Type="http://schemas.openxmlformats.org/officeDocument/2006/relationships/oleObject" Target="../embeddings/oleObject2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25.vml"/><Relationship Id="rId1" Type="http://schemas.openxmlformats.org/officeDocument/2006/relationships/themeOverride" Target="../theme/themeOverride12.xml"/><Relationship Id="rId6" Type="http://schemas.openxmlformats.org/officeDocument/2006/relationships/oleObject" Target="../embeddings/oleObject2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49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7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9.png"/><Relationship Id="rId2" Type="http://schemas.openxmlformats.org/officeDocument/2006/relationships/tags" Target="../tags/tag52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29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33.bin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4.vml"/><Relationship Id="rId1" Type="http://schemas.openxmlformats.org/officeDocument/2006/relationships/themeOverride" Target="../theme/themeOverride13.xml"/><Relationship Id="rId6" Type="http://schemas.openxmlformats.org/officeDocument/2006/relationships/oleObject" Target="../embeddings/oleObject3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1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2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5.vml"/><Relationship Id="rId1" Type="http://schemas.openxmlformats.org/officeDocument/2006/relationships/themeOverride" Target="../theme/themeOverride14.xml"/><Relationship Id="rId6" Type="http://schemas.openxmlformats.org/officeDocument/2006/relationships/oleObject" Target="../embeddings/oleObject3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3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6.vml"/><Relationship Id="rId1" Type="http://schemas.openxmlformats.org/officeDocument/2006/relationships/themeOverride" Target="../theme/themeOverride15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5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7.vml"/><Relationship Id="rId1" Type="http://schemas.openxmlformats.org/officeDocument/2006/relationships/themeOverride" Target="../theme/themeOverride16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6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8.vml"/><Relationship Id="rId1" Type="http://schemas.openxmlformats.org/officeDocument/2006/relationships/themeOverride" Target="../theme/themeOverride17.xml"/><Relationship Id="rId6" Type="http://schemas.openxmlformats.org/officeDocument/2006/relationships/oleObject" Target="../embeddings/oleObject3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6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7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39.vml"/><Relationship Id="rId1" Type="http://schemas.openxmlformats.org/officeDocument/2006/relationships/themeOverride" Target="../theme/themeOverride18.x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1.xml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72.xml"/><Relationship Id="rId7" Type="http://schemas.openxmlformats.org/officeDocument/2006/relationships/image" Target="../media/image14.emf"/><Relationship Id="rId2" Type="http://schemas.openxmlformats.org/officeDocument/2006/relationships/vmlDrawing" Target="../drawings/vmlDrawing40.vml"/><Relationship Id="rId1" Type="http://schemas.openxmlformats.org/officeDocument/2006/relationships/themeOverride" Target="../theme/themeOverride19.xml"/><Relationship Id="rId6" Type="http://schemas.openxmlformats.org/officeDocument/2006/relationships/oleObject" Target="../embeddings/oleObject40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3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13.png"/><Relationship Id="rId2" Type="http://schemas.openxmlformats.org/officeDocument/2006/relationships/tags" Target="../tags/tag74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76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42.vml"/><Relationship Id="rId1" Type="http://schemas.openxmlformats.org/officeDocument/2006/relationships/themeOverride" Target="../theme/themeOverride20.xml"/><Relationship Id="rId6" Type="http://schemas.openxmlformats.org/officeDocument/2006/relationships/oleObject" Target="../embeddings/oleObject42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77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13.png"/><Relationship Id="rId2" Type="http://schemas.openxmlformats.org/officeDocument/2006/relationships/tags" Target="../tags/tag78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80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44.vml"/><Relationship Id="rId1" Type="http://schemas.openxmlformats.org/officeDocument/2006/relationships/themeOverride" Target="../theme/themeOverride21.xml"/><Relationship Id="rId6" Type="http://schemas.openxmlformats.org/officeDocument/2006/relationships/oleObject" Target="../embeddings/oleObject44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1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13.png"/><Relationship Id="rId2" Type="http://schemas.openxmlformats.org/officeDocument/2006/relationships/tags" Target="../tags/tag82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84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46.vml"/><Relationship Id="rId1" Type="http://schemas.openxmlformats.org/officeDocument/2006/relationships/themeOverride" Target="../theme/themeOverride22.xml"/><Relationship Id="rId6" Type="http://schemas.openxmlformats.org/officeDocument/2006/relationships/oleObject" Target="../embeddings/oleObject46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7" Type="http://schemas.openxmlformats.org/officeDocument/2006/relationships/image" Target="../media/image13.png"/><Relationship Id="rId2" Type="http://schemas.openxmlformats.org/officeDocument/2006/relationships/tags" Target="../tags/tag86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7.emf"/><Relationship Id="rId2" Type="http://schemas.openxmlformats.org/officeDocument/2006/relationships/vmlDrawing" Target="../drawings/vmlDrawing48.vml"/><Relationship Id="rId1" Type="http://schemas.openxmlformats.org/officeDocument/2006/relationships/themeOverride" Target="../theme/themeOverride23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8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/>
          </p:nvPr>
        </p:nvSpPr>
        <p:spPr>
          <a:xfrm>
            <a:off x="685800" y="2130480"/>
            <a:ext cx="7772400" cy="1470025"/>
          </a:xfrm>
        </p:spPr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F38BB1-68B8-42DE-A05C-0BE986863885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222738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.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986F68-60BC-4676-995C-87ED6E5327EC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990094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06906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3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41" y="1353923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5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3546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5"/>
            <a:ext cx="81999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2871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2" y="2577934"/>
            <a:ext cx="2238043" cy="1761764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700"/>
              </a:spcAft>
              <a:buFontTx/>
              <a:buNone/>
              <a:defRPr sz="5400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62163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93597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634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0146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87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7" y="5060520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1643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005942"/>
              <a:ext cx="9794160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8929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3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11" y="4691187"/>
            <a:ext cx="697003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204"/>
            <a:ext cx="25866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33038" y="1115416"/>
            <a:ext cx="2064989" cy="881780"/>
          </a:xfrm>
        </p:spPr>
        <p:txBody>
          <a:bodyPr/>
          <a:lstStyle>
            <a:lvl1pPr algn="ctr">
              <a:defRPr sz="5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03902168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. загол.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93"/>
            <a:ext cx="2057400" cy="5851525"/>
          </a:xfrm>
        </p:spPr>
        <p:txBody>
          <a:bodyPr vert="eaVert"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9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E2D0E-1E20-4718-872F-9C68F60DD278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522666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5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55759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2" y="622800"/>
            <a:ext cx="5392499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34489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0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4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3" y="3207715"/>
            <a:ext cx="1160357" cy="443198"/>
          </a:xfrm>
        </p:spPr>
        <p:txBody>
          <a:bodyPr/>
          <a:lstStyle>
            <a:lvl1pPr>
              <a:defRPr sz="3200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8267312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11" y="4691187"/>
            <a:ext cx="697003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8"/>
            <a:ext cx="25866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FFAB40"/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33038" y="1115416"/>
            <a:ext cx="2064989" cy="881780"/>
          </a:xfrm>
        </p:spPr>
        <p:txBody>
          <a:bodyPr/>
          <a:lstStyle>
            <a:lvl1pPr algn="ctr">
              <a:defRPr sz="5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202593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72113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2" y="622800"/>
            <a:ext cx="5392499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0342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0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4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3" y="3262150"/>
            <a:ext cx="870785" cy="332399"/>
          </a:xfrm>
        </p:spPr>
        <p:txBody>
          <a:bodyPr/>
          <a:lstStyle>
            <a:lvl1pPr>
              <a:defRPr sz="2400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6355470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2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2" y="2577934"/>
            <a:ext cx="2379557" cy="1761764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700"/>
              </a:spcAft>
              <a:buFontTx/>
              <a:buNone/>
              <a:defRPr sz="5400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61313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607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5" y="5060516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01065" y="2034605"/>
            <a:ext cx="427361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15166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2"/>
          <p:cNvSpPr>
            <a:spLocks noChangeArrowheads="1"/>
          </p:cNvSpPr>
          <p:nvPr userDrawn="1"/>
        </p:nvSpPr>
        <p:spPr bwMode="auto">
          <a:xfrm>
            <a:off x="1588" y="836613"/>
            <a:ext cx="9144000" cy="42862"/>
          </a:xfrm>
          <a:prstGeom prst="rect">
            <a:avLst/>
          </a:prstGeom>
          <a:solidFill>
            <a:srgbClr val="80808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5" name="Rectangle 12"/>
          <p:cNvSpPr>
            <a:spLocks noChangeArrowheads="1"/>
          </p:cNvSpPr>
          <p:nvPr userDrawn="1"/>
        </p:nvSpPr>
        <p:spPr bwMode="auto">
          <a:xfrm>
            <a:off x="0" y="855663"/>
            <a:ext cx="9144000" cy="69850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mtClean="0">
              <a:solidFill>
                <a:srgbClr val="000000"/>
              </a:solidFill>
            </a:endParaRPr>
          </a:p>
        </p:txBody>
      </p:sp>
      <p:pic>
        <p:nvPicPr>
          <p:cNvPr id="6" name="Picture 16" descr="222222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16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8"/>
          <p:cNvSpPr>
            <a:spLocks noChangeArrowheads="1"/>
          </p:cNvSpPr>
          <p:nvPr/>
        </p:nvSpPr>
        <p:spPr bwMode="auto">
          <a:xfrm>
            <a:off x="0" y="6597650"/>
            <a:ext cx="9144000" cy="215900"/>
          </a:xfrm>
          <a:prstGeom prst="rect">
            <a:avLst/>
          </a:prstGeom>
          <a:solidFill>
            <a:srgbClr val="FFCC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mtClean="0">
              <a:solidFill>
                <a:srgbClr val="000000"/>
              </a:solidFill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390542" y="6408792"/>
            <a:ext cx="208756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 smtClean="0">
              <a:solidFill>
                <a:srgbClr val="FFFFFF"/>
              </a:solidFill>
            </a:endParaRPr>
          </a:p>
        </p:txBody>
      </p:sp>
      <p:pic>
        <p:nvPicPr>
          <p:cNvPr id="9" name="Picture 10" descr="LogoRLSFinish1 copy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15892"/>
            <a:ext cx="1403350" cy="6365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17"/>
          <p:cNvSpPr>
            <a:spLocks noChangeArrowheads="1"/>
          </p:cNvSpPr>
          <p:nvPr userDrawn="1"/>
        </p:nvSpPr>
        <p:spPr bwMode="auto">
          <a:xfrm>
            <a:off x="7962901" y="6538967"/>
            <a:ext cx="670376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200" smtClean="0">
                <a:solidFill>
                  <a:srgbClr val="292929"/>
                </a:solidFill>
              </a:rPr>
              <a:t>Слайд</a:t>
            </a:r>
          </a:p>
        </p:txBody>
      </p:sp>
      <p:sp>
        <p:nvSpPr>
          <p:cNvPr id="11" name="Rectangle 13"/>
          <p:cNvSpPr>
            <a:spLocks noChangeArrowheads="1"/>
          </p:cNvSpPr>
          <p:nvPr userDrawn="1"/>
        </p:nvSpPr>
        <p:spPr bwMode="auto">
          <a:xfrm>
            <a:off x="36540" y="6597650"/>
            <a:ext cx="7775575" cy="2286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>
            <a:lvl1pPr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900" b="0" i="1" smtClean="0">
                <a:solidFill>
                  <a:srgbClr val="000000"/>
                </a:solidFill>
              </a:rPr>
              <a:t>МОНИТОРИНГ ДВИЖЕНИЯ МЕДИЦИНСКИХ ПРОДУКТОВ. 22-23 марта 2016, Москва, Краснопресненская наб., 14, ЦВК «Экспоцентр», </a:t>
            </a:r>
          </a:p>
        </p:txBody>
      </p:sp>
      <p:sp>
        <p:nvSpPr>
          <p:cNvPr id="19458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555876" y="2924175"/>
            <a:ext cx="4608513" cy="865188"/>
          </a:xfrm>
          <a:effectLst/>
        </p:spPr>
        <p:txBody>
          <a:bodyPr/>
          <a:lstStyle>
            <a:lvl1pPr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ru-RU"/>
              <a:t>Заголовок 1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555876" y="3621142"/>
            <a:ext cx="4608513" cy="1176337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0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r>
              <a:rPr lang="en-US"/>
              <a:t>1</a:t>
            </a:r>
            <a:endParaRPr lang="ru-RU"/>
          </a:p>
        </p:txBody>
      </p:sp>
      <p:sp>
        <p:nvSpPr>
          <p:cNvPr id="12" name="Rectangle 14"/>
          <p:cNvSpPr>
            <a:spLocks noGrp="1" noChangeArrowheads="1"/>
          </p:cNvSpPr>
          <p:nvPr>
            <p:ph type="sldNum" sz="quarter" idx="10"/>
          </p:nvPr>
        </p:nvSpPr>
        <p:spPr bwMode="auto">
          <a:xfrm>
            <a:off x="7912127" y="6477053"/>
            <a:ext cx="982663" cy="340735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0000" tIns="46800" rIns="90000" bIns="46800" numCol="1" anchor="t" anchorCtr="0" compatLnSpc="1">
            <a:prstTxWarp prst="textNoShape">
              <a:avLst/>
            </a:prstTxWarp>
            <a:spAutoFit/>
          </a:bodyPr>
          <a:lstStyle>
            <a:lvl1pPr algn="r" eaLnBrk="1" hangingPunct="1">
              <a:defRPr sz="1600" b="0">
                <a:solidFill>
                  <a:srgbClr val="292929"/>
                </a:solidFill>
                <a:latin typeface="FranklinGothicBookC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D72B40A-1D3D-4E79-BD87-4A2342FF1F93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8375362"/>
      </p:ext>
    </p:extLst>
  </p:cSld>
  <p:clrMapOvr>
    <a:masterClrMapping/>
  </p:clrMapOvr>
  <p:transition>
    <p:cover dir="d"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144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1" y="342401"/>
            <a:ext cx="81952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55098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9982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668041"/>
            <a:ext cx="7215368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48668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3680016"/>
            <a:ext cx="8682228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0703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332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1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0723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60397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73310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17293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87528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964557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6"/>
          <p:cNvSpPr>
            <a:spLocks noChangeArrowheads="1"/>
          </p:cNvSpPr>
          <p:nvPr/>
        </p:nvSpPr>
        <p:spPr bwMode="auto">
          <a:xfrm>
            <a:off x="8135938" y="6526267"/>
            <a:ext cx="1008062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FFFFFF"/>
                </a:solidFill>
              </a:rPr>
              <a:t>Слайд: </a:t>
            </a:r>
            <a:fld id="{40966BC4-4233-4B0E-9AFD-D4312D17CFBA}" type="slidenum">
              <a:rPr lang="en-US" sz="1200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b="1">
              <a:solidFill>
                <a:srgbClr val="FFFFFF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758159"/>
      </p:ext>
    </p:extLst>
  </p:cSld>
  <p:clrMapOvr>
    <a:masterClrMapping/>
  </p:clrMapOvr>
  <p:transition>
    <p:cover dir="d"/>
  </p:transition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39332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3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10867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65817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88440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3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3505235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661558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26098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8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15509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34699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025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55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1909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54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86830024"/>
      </p:ext>
    </p:extLst>
  </p:cSld>
  <p:clrMapOvr>
    <a:masterClrMapping/>
  </p:clrMapOvr>
  <p:transition>
    <p:cover dir="d"/>
  </p:transition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7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2872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7269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6827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9498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7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5" y="5060516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11763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005942"/>
              <a:ext cx="10151211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892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23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5" y="5060516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01065" y="2034605"/>
            <a:ext cx="427361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17142081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9144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499" y="411652"/>
            <a:ext cx="8195250" cy="332399"/>
          </a:xfrm>
        </p:spPr>
        <p:txBody>
          <a:bodyPr anchor="ctr"/>
          <a:lstStyle>
            <a:lvl1pPr>
              <a:defRPr b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1435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88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49"/>
            <a:ext cx="2808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48222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7" y="2668041"/>
            <a:ext cx="721536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0" y="1424082"/>
            <a:ext cx="71379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313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68313" y="162877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59313" y="1628779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8875704"/>
      </p:ext>
    </p:extLst>
  </p:cSld>
  <p:clrMapOvr>
    <a:masterClrMapping/>
  </p:clrMapOvr>
  <p:transition>
    <p:cover dir="d"/>
  </p:transition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1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3680016"/>
            <a:ext cx="8668940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1641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6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305963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911741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6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5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537896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70739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4742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5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607618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0138886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1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17738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3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6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335796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6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7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58" y="0"/>
            <a:ext cx="327934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19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50378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87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9524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2764204"/>
            <a:ext cx="185897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29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4136940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4" y="3394393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735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52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52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7045974"/>
      </p:ext>
    </p:extLst>
  </p:cSld>
  <p:clrMapOvr>
    <a:masterClrMapping/>
  </p:clrMapOvr>
  <p:transition>
    <p:cover dir="d"/>
  </p:transition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5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4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888272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163066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0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3560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29" y="3407804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505784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4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6941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469087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1" y="3407804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3817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05447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0339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27"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39" y="1353921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1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930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1"/>
            <a:ext cx="81999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8288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0" y="2577934"/>
            <a:ext cx="2238043" cy="1761764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700"/>
              </a:spcAft>
              <a:buFontTx/>
              <a:buNone/>
              <a:defRPr sz="5400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4834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57353889"/>
      </p:ext>
    </p:extLst>
  </p:cSld>
  <p:clrMapOvr>
    <a:masterClrMapping/>
  </p:clrMapOvr>
  <p:transition>
    <p:cover dir="d"/>
  </p:transition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9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55325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5926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15248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7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5" y="5060516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971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4" name="Group 143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005942"/>
              <a:ext cx="9794160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042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4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72500" y="907200"/>
            <a:ext cx="2586600" cy="3588601"/>
          </a:xfrm>
          <a:prstGeom prst="rect">
            <a:avLst/>
          </a:prstGeom>
          <a:noFill/>
          <a:ln w="9525" cap="flat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33036" y="1115416"/>
            <a:ext cx="2064989" cy="881780"/>
          </a:xfrm>
        </p:spPr>
        <p:txBody>
          <a:bodyPr/>
          <a:lstStyle>
            <a:lvl1pPr algn="ctr">
              <a:defRPr sz="5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55946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4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620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6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0" y="622800"/>
            <a:ext cx="5392499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637792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1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1" y="3207715"/>
            <a:ext cx="1160357" cy="443198"/>
          </a:xfrm>
        </p:spPr>
        <p:txBody>
          <a:bodyPr/>
          <a:lstStyle>
            <a:lvl1pPr>
              <a:defRPr sz="3200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3646974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041109" y="4691187"/>
            <a:ext cx="697003" cy="995874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1882112" y="4691187"/>
            <a:ext cx="1177614" cy="1468176"/>
          </a:xfrm>
          <a:prstGeom prst="rect">
            <a:avLst/>
          </a:prstGeom>
          <a:noFill/>
          <a:ln w="9525" cmpd="sng">
            <a:solidFill>
              <a:srgbClr val="595959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472500" y="907198"/>
            <a:ext cx="2586600" cy="3614002"/>
          </a:xfrm>
          <a:prstGeom prst="rect">
            <a:avLst/>
          </a:prstGeom>
          <a:noFill/>
          <a:ln>
            <a:solidFill>
              <a:srgbClr val="595959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FFAB40"/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733036" y="1115416"/>
            <a:ext cx="2064989" cy="881780"/>
          </a:xfrm>
        </p:spPr>
        <p:txBody>
          <a:bodyPr/>
          <a:lstStyle>
            <a:lvl1pPr algn="ctr">
              <a:defRPr sz="5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401892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395184"/>
      </p:ext>
    </p:extLst>
  </p:cSld>
  <p:clrMapOvr>
    <a:masterClrMapping/>
  </p:clrMapOvr>
  <p:transition>
    <p:cover dir="d"/>
  </p:transition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963900" y="2667600"/>
            <a:ext cx="7214400" cy="3200400"/>
          </a:xfrm>
          <a:prstGeom prst="rect">
            <a:avLst/>
          </a:prstGeom>
          <a:noFill/>
          <a:ln w="9525">
            <a:solidFill>
              <a:srgbClr val="595959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6475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0" y="622800"/>
            <a:ext cx="5392499" cy="470898"/>
          </a:xfrm>
        </p:spPr>
        <p:txBody>
          <a:bodyPr/>
          <a:lstStyle>
            <a:lvl1pPr>
              <a:defRPr sz="3400"/>
            </a:lvl1pPr>
          </a:lstStyle>
          <a:p>
            <a:r>
              <a:rPr lang="en-US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464174" y="1206000"/>
            <a:ext cx="8682228" cy="0"/>
          </a:xfrm>
          <a:prstGeom prst="line">
            <a:avLst/>
          </a:prstGeom>
          <a:ln w="9525" cmpd="sng">
            <a:solidFill>
              <a:srgbClr val="595959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0796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87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2" y="0"/>
            <a:ext cx="312713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6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2501" y="3262146"/>
            <a:ext cx="870785" cy="332399"/>
          </a:xfrm>
        </p:spPr>
        <p:txBody>
          <a:bodyPr/>
          <a:lstStyle>
            <a:lvl1pPr>
              <a:defRPr sz="2400"/>
            </a:lvl1pPr>
          </a:lstStyle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9855792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72500" y="2577934"/>
            <a:ext cx="2379557" cy="1761764"/>
          </a:xfrm>
        </p:spPr>
        <p:txBody>
          <a:bodyPr/>
          <a:lstStyle>
            <a:lvl1pPr marL="0" indent="0">
              <a:lnSpc>
                <a:spcPct val="106000"/>
              </a:lnSpc>
              <a:spcAft>
                <a:spcPts val="700"/>
              </a:spcAft>
              <a:buFontTx/>
              <a:buNone/>
              <a:defRPr sz="5400"/>
            </a:lvl1pPr>
          </a:lstStyle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6473429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31478" y="3586748"/>
            <a:ext cx="1023938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17794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032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0080852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9AD5296C-1AEA-42D9-805A-6AAEF4425B9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418006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3614179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9529734-731B-4CEF-BBDF-53042859C1C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89988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2577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10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01367689"/>
      </p:ext>
    </p:extLst>
  </p:cSld>
  <p:clrMapOvr>
    <a:masterClrMapping/>
  </p:clrMapOvr>
  <p:transition>
    <p:cover dir="d"/>
  </p:transition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706557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84698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5189536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67224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282391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013529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125" y="475760"/>
            <a:ext cx="6538546" cy="355600"/>
          </a:xfrm>
        </p:spPr>
        <p:txBody>
          <a:bodyPr lIns="0" tIns="0" rIns="0" bIns="0" anchor="t">
            <a:noAutofit/>
          </a:bodyPr>
          <a:lstStyle>
            <a:lvl1pPr>
              <a:defRPr sz="225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3478" y="2223452"/>
            <a:ext cx="5898462" cy="150018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500" b="0">
                <a:solidFill>
                  <a:schemeClr val="accent3"/>
                </a:solidFill>
              </a:defRPr>
            </a:lvl1pPr>
            <a:lvl2pPr marL="34286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0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5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51339" y="935587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6538258" y="603504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795360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455" y="476737"/>
            <a:ext cx="6752200" cy="454088"/>
          </a:xfrm>
        </p:spPr>
        <p:txBody>
          <a:bodyPr lIns="0" tIns="0" rIns="0" bIns="0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51339" y="937968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38258" y="603504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85007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341" y="475259"/>
            <a:ext cx="6752200" cy="569593"/>
          </a:xfrm>
        </p:spPr>
        <p:txBody>
          <a:bodyPr lIns="0" tIns="0" rIns="0" bIns="0"/>
          <a:lstStyle>
            <a:lvl1pPr>
              <a:defRPr lang="en-US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113090" y="1737363"/>
            <a:ext cx="6561992" cy="4309425"/>
          </a:xfrm>
        </p:spPr>
        <p:txBody>
          <a:bodyPr lIns="0" tIns="0" rIns="0" bIns="0"/>
          <a:lstStyle>
            <a:lvl1pPr marL="0" indent="0">
              <a:buClr>
                <a:schemeClr val="accent4"/>
              </a:buClr>
              <a:buFontTx/>
              <a:buNone/>
              <a:defRPr sz="1500" baseline="0">
                <a:solidFill>
                  <a:schemeClr val="tx1"/>
                </a:solidFill>
              </a:defRPr>
            </a:lvl1pPr>
            <a:lvl2pPr marL="7142" indent="0">
              <a:buNone/>
              <a:tabLst/>
              <a:defRPr sz="1125"/>
            </a:lvl2pPr>
            <a:lvl3pPr marL="7142" indent="0">
              <a:buNone/>
              <a:tabLst/>
              <a:defRPr sz="1050" b="1">
                <a:solidFill>
                  <a:schemeClr val="tx1"/>
                </a:solidFill>
              </a:defRPr>
            </a:lvl3pPr>
            <a:lvl4pPr marL="7142" indent="0">
              <a:buNone/>
              <a:tabLst/>
              <a:defRPr/>
            </a:lvl4pPr>
            <a:lvl5pPr marL="7142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4"/>
          </p:nvPr>
        </p:nvSpPr>
        <p:spPr>
          <a:xfrm>
            <a:off x="451339" y="935587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38258" y="605067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03489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3012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7672FB-9A1B-41F9-A5EE-A5876B323006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61271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99516644"/>
      </p:ext>
    </p:extLst>
  </p:cSld>
  <p:clrMapOvr>
    <a:masterClrMapping/>
  </p:clrMapOvr>
  <p:transition>
    <p:cover dir="d"/>
  </p:transition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9AD5296C-1AEA-42D9-805A-6AAEF4425B9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9958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80569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>
              <a:defRPr/>
            </a:pPr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>
              <a:defRPr/>
            </a:pPr>
            <a:fld id="{89529734-731B-4CEF-BBDF-53042859C1CD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685800">
                <a:defRPr/>
              </a:pPr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4573798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5773705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84509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57733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216181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ru-RU" dirty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443281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328123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800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896218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818817"/>
      </p:ext>
    </p:extLst>
  </p:cSld>
  <p:clrMapOvr>
    <a:masterClrMapping/>
  </p:clrMapOvr>
  <p:transition>
    <p:cover dir="d"/>
  </p:transition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125" y="475760"/>
            <a:ext cx="6538546" cy="355600"/>
          </a:xfrm>
        </p:spPr>
        <p:txBody>
          <a:bodyPr lIns="0" tIns="0" rIns="0" bIns="0" anchor="t">
            <a:noAutofit/>
          </a:bodyPr>
          <a:lstStyle>
            <a:lvl1pPr>
              <a:defRPr sz="225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3478" y="2223452"/>
            <a:ext cx="5898462" cy="1500187"/>
          </a:xfrm>
        </p:spPr>
        <p:txBody>
          <a:bodyPr lIns="0" tIns="0" rIns="0" bIns="0">
            <a:normAutofit/>
          </a:bodyPr>
          <a:lstStyle>
            <a:lvl1pPr marL="0" indent="0">
              <a:buNone/>
              <a:defRPr sz="1500" b="0">
                <a:solidFill>
                  <a:schemeClr val="accent3"/>
                </a:solidFill>
              </a:defRPr>
            </a:lvl1pPr>
            <a:lvl2pPr marL="34286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4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1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4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3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1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08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295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51339" y="935587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6538258" y="603504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785730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blipFill dpi="0" rotWithShape="1">
          <a:blip r:embed="rId2">
            <a:lum/>
          </a:blip>
          <a:srcRect/>
          <a:stretch>
            <a:fillRect t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455" y="476737"/>
            <a:ext cx="6752200" cy="454088"/>
          </a:xfrm>
        </p:spPr>
        <p:txBody>
          <a:bodyPr lIns="0" tIns="0" rIns="0" bIns="0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51339" y="937968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38258" y="603504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6485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504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341" y="475259"/>
            <a:ext cx="6752200" cy="569593"/>
          </a:xfrm>
        </p:spPr>
        <p:txBody>
          <a:bodyPr lIns="0" tIns="0" rIns="0" bIns="0"/>
          <a:lstStyle>
            <a:lvl1pPr>
              <a:defRPr lang="en-US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113090" y="1737363"/>
            <a:ext cx="6561992" cy="4309425"/>
          </a:xfrm>
        </p:spPr>
        <p:txBody>
          <a:bodyPr lIns="0" tIns="0" rIns="0" bIns="0"/>
          <a:lstStyle>
            <a:lvl1pPr marL="0" indent="0">
              <a:buClr>
                <a:schemeClr val="accent4"/>
              </a:buClr>
              <a:buFontTx/>
              <a:buNone/>
              <a:defRPr sz="1500" baseline="0">
                <a:solidFill>
                  <a:schemeClr val="tx1"/>
                </a:solidFill>
              </a:defRPr>
            </a:lvl1pPr>
            <a:lvl2pPr marL="7142" indent="0">
              <a:buNone/>
              <a:tabLst/>
              <a:defRPr sz="1125"/>
            </a:lvl2pPr>
            <a:lvl3pPr marL="7142" indent="0">
              <a:buNone/>
              <a:tabLst/>
              <a:defRPr sz="1050" b="1">
                <a:solidFill>
                  <a:schemeClr val="tx1"/>
                </a:solidFill>
              </a:defRPr>
            </a:lvl3pPr>
            <a:lvl4pPr marL="7142" indent="0">
              <a:buNone/>
              <a:tabLst/>
              <a:defRPr/>
            </a:lvl4pPr>
            <a:lvl5pPr marL="7142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4"/>
          </p:nvPr>
        </p:nvSpPr>
        <p:spPr>
          <a:xfrm>
            <a:off x="451339" y="935587"/>
            <a:ext cx="4071426" cy="440776"/>
          </a:xfrm>
        </p:spPr>
        <p:txBody>
          <a:bodyPr lIns="0">
            <a:normAutofit/>
          </a:bodyPr>
          <a:lstStyle>
            <a:lvl1pPr marL="0" indent="0" algn="l">
              <a:buNone/>
              <a:defRPr sz="1500">
                <a:solidFill>
                  <a:schemeClr val="accent3"/>
                </a:solidFill>
                <a:latin typeface="+mj-lt"/>
              </a:defRPr>
            </a:lvl1pPr>
            <a:lvl2pPr marL="342869" indent="0" algn="ctr">
              <a:buNone/>
              <a:defRPr sz="1500"/>
            </a:lvl2pPr>
            <a:lvl3pPr marL="685740" indent="0" algn="ctr">
              <a:buNone/>
              <a:defRPr sz="1350"/>
            </a:lvl3pPr>
            <a:lvl4pPr marL="1028610" indent="0" algn="ctr">
              <a:buNone/>
              <a:defRPr sz="1200"/>
            </a:lvl4pPr>
            <a:lvl5pPr marL="1371480" indent="0" algn="ctr">
              <a:buNone/>
              <a:defRPr sz="1200"/>
            </a:lvl5pPr>
            <a:lvl6pPr marL="1714350" indent="0" algn="ctr">
              <a:buNone/>
              <a:defRPr sz="1200"/>
            </a:lvl6pPr>
            <a:lvl7pPr marL="2057219" indent="0" algn="ctr">
              <a:buNone/>
              <a:defRPr sz="1200"/>
            </a:lvl7pPr>
            <a:lvl8pPr marL="2400089" indent="0" algn="ctr">
              <a:buNone/>
              <a:defRPr sz="1200"/>
            </a:lvl8pPr>
            <a:lvl9pPr marL="2742959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38258" y="605067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6A51F0-E5B3-2D49-876A-2CB5B4572D55}" type="slidenum">
              <a:rPr kumimoji="0" 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5B9BD5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50" b="0" i="0" u="none" strike="noStrike" kern="1200" cap="none" spc="0" normalizeH="0" baseline="0" noProof="0" dirty="0">
              <a:ln>
                <a:noFill/>
              </a:ln>
              <a:solidFill>
                <a:srgbClr val="5B9BD5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493721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504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184685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587186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1598266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326500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300876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8609857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1439442"/>
      </p:ext>
    </p:extLst>
  </p:cSld>
  <p:clrMapOvr>
    <a:masterClrMapping/>
  </p:clrMapOvr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38925" y="203200"/>
            <a:ext cx="2058988" cy="59515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2" y="203200"/>
            <a:ext cx="6029325" cy="59515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5436801"/>
      </p:ext>
    </p:extLst>
  </p:cSld>
  <p:clrMapOvr>
    <a:masterClrMapping/>
  </p:clrMapOvr>
  <p:transition>
    <p:cover dir="d"/>
  </p:transition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0592958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0965931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082817"/>
      </p:ext>
    </p:extLst>
  </p:cSld>
  <p:clrMapOvr>
    <a:masterClrMapping/>
  </p:clrMapOvr>
  <p:hf hdr="0" ftr="0" dt="0"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3582085"/>
      </p:ext>
    </p:extLst>
  </p:cSld>
  <p:clrMapOvr>
    <a:masterClrMapping/>
  </p:clrMapOvr>
  <p:hf hdr="0" ftr="0" dt="0"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6366116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764384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120137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484548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6337180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21449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B1CA56-C0AB-409C-AB62-7C8F7BA88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8083AF9-DC17-4C3F-8095-6A08E215D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3E8CFF-A15F-4515-935C-0E43227BD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2964F19-8CB6-4C37-A5F9-936D05626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794928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624168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006841"/>
      </p:ext>
    </p:extLst>
  </p:cSld>
  <p:clrMapOvr>
    <a:masterClrMapping/>
  </p:clrMapOvr>
  <p:hf hdr="0" ftr="0" dt="0"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728556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4310286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236800"/>
      </p:ext>
    </p:extLst>
  </p:cSld>
  <p:clrMapOvr>
    <a:masterClrMapping/>
  </p:clrMapOvr>
  <p:hf hdr="0" ftr="0" dt="0"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6253139"/>
      </p:ext>
    </p:extLst>
  </p:cSld>
  <p:clrMapOvr>
    <a:masterClrMapping/>
  </p:clrMapOvr>
  <p:hf hdr="0" ftr="0" dt="0"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4616354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5381727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5749245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323221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0A08D6-D4C2-41E6-B2F5-A6E91D4955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51D8CB8-CFDF-4EA6-846C-EC4AD31E65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A88BF0C-C8E4-4A71-9D2E-60C6606111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61C9888-1056-44B4-9D05-76CCC9390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4E269B-1B31-4155-A12F-E85AF57AC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610905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22803623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0894111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3503444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5693604"/>
      </p:ext>
    </p:extLst>
  </p:cSld>
  <p:clrMapOvr>
    <a:masterClrMapping/>
  </p:clrMapOvr>
  <p:hf hdr="0" ftr="0" dt="0"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826844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3218228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6774126"/>
      </p:ext>
    </p:extLst>
  </p:cSld>
  <p:clrMapOvr>
    <a:masterClrMapping/>
  </p:clrMapOvr>
  <p:hf hdr="0" ftr="0" dt="0"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9301687"/>
      </p:ext>
    </p:extLst>
  </p:cSld>
  <p:clrMapOvr>
    <a:masterClrMapping/>
  </p:clrMapOvr>
  <p:hf hdr="0" ftr="0" dt="0"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189771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0843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06EE64-21D5-4644-8F2C-9C43DAF98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4C7C4C2-8DBB-4400-9829-E3C53D032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B54EE6F-CAA7-4083-84EC-9F0040188C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C85131-9445-4667-8EC3-85DFCDE44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D1DD1CA-1A47-4A39-82A1-9E0F42D1F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AD5296C-1AEA-42D9-805A-6AAEF4425B9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47093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564307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9050553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945754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8578936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042721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2923768"/>
      </p:ext>
    </p:extLst>
  </p:cSld>
  <p:clrMapOvr>
    <a:masterClrMapping/>
  </p:clrMapOvr>
  <p:hf hdr="0" ftr="0" dt="0"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8676422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4718822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5716631"/>
      </p:ext>
    </p:extLst>
  </p:cSld>
  <p:clrMapOvr>
    <a:masterClrMapping/>
  </p:clrMapOvr>
  <p:hf hdr="0" ftr="0" dt="0"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3078793"/>
      </p:ext>
    </p:extLst>
  </p:cSld>
  <p:clrMapOvr>
    <a:masterClrMapping/>
  </p:clrMapOvr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C738E3-FB3A-4008-9CE1-36FF7C3FD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85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D81A732-1F61-494E-8718-608F3344F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510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A315EB-3757-4822-9A3B-CEE642A6DB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B2EF52F-2F7F-4E46-8598-02E491241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995135D-4E33-4D23-9636-B6C236B2E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494631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984613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1601922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515552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4707157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48589400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44222801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3442744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5839727"/>
      </p:ext>
    </p:extLst>
  </p:cSld>
  <p:clrMapOvr>
    <a:masterClrMapping/>
  </p:clrMapOvr>
  <p:hf hdr="0" ftr="0" dt="0"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7059937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053731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1132F4-C87D-46B8-82E0-04CF5095B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8F4E6C6-18B8-4B27-ABD7-C9D33B9EE1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E3EA86-4FE8-497C-9B2A-3F091D584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3606175-7235-42BB-9AD8-3D219E509E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5875A6F-6160-4C3D-AF31-EF6AE7C33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D20B71B-6ED6-4522-871A-0D5378AB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9529734-731B-4CEF-BBDF-53042859C1C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010562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584205"/>
      </p:ext>
    </p:extLst>
  </p:cSld>
  <p:clrMapOvr>
    <a:masterClrMapping/>
  </p:clrMapOvr>
  <p:hf hdr="0" ftr="0" dt="0"/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0917142"/>
      </p:ext>
    </p:extLst>
  </p:cSld>
  <p:clrMapOvr>
    <a:masterClrMapping/>
  </p:clrMapOvr>
  <p:hf hdr="0" ftr="0" dt="0"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129804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58531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26088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1045295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9839889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16098792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870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1050083"/>
      </p:ext>
    </p:extLst>
  </p:cSld>
  <p:clrMapOvr>
    <a:masterClrMapping/>
  </p:clrMapOvr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F54A2E-0D76-43CD-8D3E-83F97C528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938BA6A-2D6F-4E74-BE9C-E0FC70889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597D4CB-EC02-4A63-8FDC-3E9FA4EE94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82C3122-D9A4-4FC5-965D-BB0308275E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878D037-C83E-496D-A831-AE2AB2AE8F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4B1FAE7-D33A-4732-9CCC-24427AB0C0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D09F8D64-060B-483C-A5E3-6AE2A344E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5FBFEC4-8323-45AF-94D1-EB70D440B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782826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880800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9208349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6070148"/>
      </p:ext>
    </p:extLst>
  </p:cSld>
  <p:clrMapOvr>
    <a:masterClrMapping/>
  </p:clrMapOvr>
  <p:hf hdr="0" ftr="0" dt="0"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0228186"/>
      </p:ext>
    </p:extLst>
  </p:cSld>
  <p:clrMapOvr>
    <a:masterClrMapping/>
  </p:clrMapOvr>
  <p:hf hdr="0" ftr="0" dt="0"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986700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5972774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4058145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1045517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488935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550728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3C6CB4-B912-4CCC-A7F2-AB84A48F8D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FB0AD79-F78E-4435-97FD-8CA6606F2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C1891C4-A5EA-49F3-9EB9-FE5309959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510705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95874425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8287286"/>
      </p:ext>
    </p:extLst>
  </p:cSld>
  <p:clrMapOvr>
    <a:masterClrMapping/>
  </p:clrMapOvr>
  <p:hf hdr="0" ftr="0" dt="0"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7238816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414793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655103"/>
      </p:ext>
    </p:extLst>
  </p:cSld>
  <p:clrMapOvr>
    <a:masterClrMapping/>
  </p:clrMapOvr>
  <p:hf hdr="0" ftr="0" dt="0"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42229"/>
      </p:ext>
    </p:extLst>
  </p:cSld>
  <p:clrMapOvr>
    <a:masterClrMapping/>
  </p:clrMapOvr>
  <p:hf hdr="0" ftr="0" dt="0"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505115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025199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97053362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00520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722313" y="440695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EFEF54-16D7-4757-B381-35B15068AD04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38729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4160E8-EE37-459F-AD25-FAD32E289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7B7FE3-2BE0-41AF-9240-72AF4454B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72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0A8739F-67E3-483F-ACEE-92E0115AEE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D079C7D-4164-42C0-A2BD-DDA90E074B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ADBE01F-FEE2-4BC9-B809-D9DC1AE9B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DD544D-236F-4A08-B270-B72EB0D6D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8681138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1977448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2732439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61493285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7066664"/>
      </p:ext>
    </p:extLst>
  </p:cSld>
  <p:clrMapOvr>
    <a:masterClrMapping/>
  </p:clrMapOvr>
  <p:hf hdr="0" ftr="0" dt="0"/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08857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01244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5277335"/>
      </p:ext>
    </p:extLst>
  </p:cSld>
  <p:clrMapOvr>
    <a:masterClrMapping/>
  </p:clrMapOvr>
  <p:hf hdr="0" ftr="0" dt="0"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9226325"/>
      </p:ext>
    </p:extLst>
  </p:cSld>
  <p:clrMapOvr>
    <a:masterClrMapping/>
  </p:clrMapOvr>
  <p:hf hdr="0" ftr="0" dt="0"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96025310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053581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8CC8F0-EDFA-4A30-B834-F8DC33592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C6EAAC2-2C63-40E6-A5C3-4BE0E4E7EB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72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9993C87-32AC-4404-AFF4-610FA0483F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14EFA4-1966-4260-924D-83D757C00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EF5B02-3118-4F1E-BDFE-3E5D0FF23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DDD9AE4-388A-41D7-9205-B1D15F6B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218303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8657406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2922277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427667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9110436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71783290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8564591"/>
      </p:ext>
    </p:extLst>
  </p:cSld>
  <p:clrMapOvr>
    <a:masterClrMapping/>
  </p:clrMapOvr>
  <p:hf hdr="0" ftr="0" dt="0"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11362503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1354139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5766083"/>
      </p:ext>
    </p:extLst>
  </p:cSld>
  <p:clrMapOvr>
    <a:masterClrMapping/>
  </p:clrMapOvr>
  <p:hf hdr="0" ftr="0" dt="0"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1098816"/>
      </p:ext>
    </p:extLst>
  </p:cSld>
  <p:clrMapOvr>
    <a:masterClrMapping/>
  </p:clrMapOvr>
  <p:hf hdr="0" ft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F0CE5-5417-4BF0-AA56-E883C1A69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10A5773-9821-44AD-8788-D7EC32621F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EF8551-DBD5-4CF8-99C9-592C11C7B9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0421F3-45C6-4993-8E68-361E30C51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46A749-04A2-46B6-A94F-F895FD19B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4747818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69833804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C79D3D1-39C4-4897-AD66-808782A36E2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823697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1D75CC6-9019-4692-80EC-F5FBF2B2DE5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185082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5813168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C94471D-74E0-4A5D-A055-2D19A1862D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3923434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220212-C47E-4CCE-837B-C17C5EEE8EB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95619627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AD2E5EF-95BE-47A1-BFFA-5A93F3D7E46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16206695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161829"/>
      </p:ext>
    </p:extLst>
  </p:cSld>
  <p:clrMapOvr>
    <a:masterClrMapping/>
  </p:clrMapOvr>
  <p:hf hdr="0" ftr="0" dt="0"/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92314E-CA57-4BA1-8FC4-ABFCFAC71930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19886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E63A65-3FBB-41B7-B365-C16E140B670E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14418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832F161-A475-4C16-8693-49D396AD1D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F2C5789-5073-45E2-B511-119A1BAE7F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E414AD-B7EE-4F0B-8CDD-FA9BDD95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7E40334-DF47-4D66-9898-49CEBCEFF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D86727-5BDA-4806-B713-25BE0281B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9160751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2844015"/>
      </p:ext>
    </p:extLst>
  </p:cSld>
  <p:clrMapOvr>
    <a:masterClrMapping/>
  </p:clrMapOvr>
  <p:hf hdr="0" ft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244517"/>
      </p:ext>
    </p:extLst>
  </p:cSld>
  <p:clrMapOvr>
    <a:masterClrMapping/>
  </p:clrMapOvr>
  <p:hf hdr="0" ftr="0" dt="0"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Образец текста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5396478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B0085-D763-4518-9155-C129ED5B4D1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722508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DD66CEC-DE00-4685-98C4-CBEC69ABB03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866434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48F927-798D-425A-8F6F-95A6B75364A1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7587610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29128D3-6DC5-4CB1-B1CD-AA17F23FB61B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4331516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4348839-059C-437D-8F48-BBCBB176E37F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5580177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4437050-7C67-41C5-9663-96984CB91DD4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0060636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57BF625-2CC4-4D36-AEDB-1A8322E68FA3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62165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125" y="475760"/>
            <a:ext cx="6538546" cy="355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30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3478" y="2223498"/>
            <a:ext cx="5898462" cy="15001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0">
                <a:solidFill>
                  <a:schemeClr val="accent3"/>
                </a:solidFill>
              </a:defRPr>
            </a:lvl1pPr>
            <a:lvl2pPr marL="4571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51339" y="935587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6538281" y="6035093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8245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2A958B-2E0D-4453-AC19-DB3AABE4C5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9865286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49E46-E677-48DA-871F-53DF9AA210B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5582853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3845D53-2F63-4280-9733-40CC44743A1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778838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8FF4D7F-F903-4762-9EBE-9ABB834BB7F1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480172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455" y="476737"/>
            <a:ext cx="6752200" cy="454088"/>
          </a:xfrm>
          <a:prstGeom prst="rect">
            <a:avLst/>
          </a:prstGeom>
        </p:spPr>
        <p:txBody>
          <a:bodyPr lIns="0" tIns="0" rIns="0" bIns="0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51339" y="937968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38281" y="6035093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97081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orient="horz" pos="504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341" y="475305"/>
            <a:ext cx="6752200" cy="56959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113090" y="1737363"/>
            <a:ext cx="6561992" cy="43094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4"/>
              </a:buClr>
              <a:buFontTx/>
              <a:buNone/>
              <a:defRPr sz="2000" baseline="0">
                <a:solidFill>
                  <a:schemeClr val="tx1"/>
                </a:solidFill>
              </a:defRPr>
            </a:lvl1pPr>
            <a:lvl2pPr marL="9522" indent="0">
              <a:buNone/>
              <a:tabLst/>
              <a:defRPr sz="1500"/>
            </a:lvl2pPr>
            <a:lvl3pPr marL="9522" indent="0">
              <a:buNone/>
              <a:tabLst/>
              <a:defRPr sz="1400" b="1">
                <a:solidFill>
                  <a:schemeClr val="tx1"/>
                </a:solidFill>
              </a:defRPr>
            </a:lvl3pPr>
            <a:lvl4pPr marL="9522" indent="0">
              <a:buNone/>
              <a:tabLst/>
              <a:defRPr/>
            </a:lvl4pPr>
            <a:lvl5pPr marL="9522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4"/>
          </p:nvPr>
        </p:nvSpPr>
        <p:spPr>
          <a:xfrm>
            <a:off x="451339" y="935587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  <a:latin typeface="+mj-lt"/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38281" y="6050723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320975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504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4F5D16-2ED2-4280-B11D-668718020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13D824B-F52A-4716-B3A9-1C2E3E9FA8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F9A34A2-36A4-470A-B926-AB495230E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97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0C7B2FB-E853-427C-BC78-C742BD63E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97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1548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3B1CA56-C0AB-409C-AB62-7C8F7BA88A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78083AF9-DC17-4C3F-8095-6A08E215DD4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483E8CFF-A15F-4515-935C-0E43227BD5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82964F19-8CB6-4C37-A5F9-936D056267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05395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A0A08D6-D4C2-41E6-B2F5-A6E91D4955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51D8CB8-CFDF-4EA6-846C-EC4AD31E65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A88BF0C-C8E4-4A71-9D2E-60C6606111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61C9888-1056-44B4-9D05-76CCC93908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94E269B-1B31-4155-A12F-E85AF57AC8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80757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33DF56-92D7-4FD6-A59C-0FA17AC0E33C}" type="datetime1">
              <a:rPr lang="ru-RU" smtClean="0"/>
              <a:t>2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843917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06EE64-21D5-4644-8F2C-9C43DAF98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34C7C4C2-8DBB-4400-9829-E3C53D0322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B54EE6F-CAA7-4083-84EC-9F0040188C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8C85131-9445-4667-8EC3-85DFCDE448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D1DD1CA-1A47-4A39-82A1-9E0F42D1F3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9AD5296C-1AEA-42D9-805A-6AAEF4425B9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40393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EC738E3-FB3A-4008-9CE1-36FF7C3FD5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709759"/>
            <a:ext cx="78867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D81A732-1F61-494E-8718-608F3344F3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4589484"/>
            <a:ext cx="78867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DEA315EB-3757-4822-9A3B-CEE642A6DB4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1B2EF52F-2F7F-4E46-8598-02E4912414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995135D-4E33-4D23-9636-B6C236B2E2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86496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EA1132F4-C87D-46B8-82E0-04CF5095B0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C8F4E6C6-18B8-4B27-ABD7-C9D33B9EE1F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B2E3EA86-4FE8-497C-9B2A-3F091D58477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D3606175-7235-42BB-9AD8-3D219E509E6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85875A6F-6160-4C3D-AF31-EF6AE7C330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7D20B71B-6ED6-4522-871A-0D5378AB12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fld id="{89529734-731B-4CEF-BBDF-53042859C1CD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633288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4AF54A2E-0D76-43CD-8D3E-83F97C528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0938BA6A-2D6F-4E74-BE9C-E0FC70889C7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6597D4CB-EC02-4A63-8FDC-3E9FA4EE94F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482C3122-D9A4-4FC5-965D-BB0308275E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2" y="1681163"/>
            <a:ext cx="3887391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2878D037-C83E-496D-A831-AE2AB2AE8F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2" y="2505075"/>
            <a:ext cx="3887391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94B1FAE7-D33A-4732-9CCC-24427AB0C06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D09F8D64-060B-483C-A5E3-6AE2A344E0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F5FBFEC4-8323-45AF-94D1-EB70D440B3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357367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E83C6CB4-B912-4CCC-A7F2-AB84A48F8D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7FB0AD79-F78E-4435-97FD-8CA6606F2E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C1891C4-A5EA-49F3-9EB9-FE5309959C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50087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4160E8-EE37-459F-AD25-FAD32E289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7B7FE3-2BE0-41AF-9240-72AF4454BF9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391" y="987446"/>
            <a:ext cx="462915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A0A8739F-67E3-483F-ACEE-92E0115AEE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0D079C7D-4164-42C0-A2BD-DDA90E074B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2ADBE01F-FEE2-4BC9-B809-D9DC1AE9B7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6DD544D-236F-4A08-B270-B72EB0D6DF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25818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8CC8F0-EDFA-4A30-B834-F8DC335928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4C6EAAC2-2C63-40E6-A5C3-4BE0E4E7EBB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391" y="987446"/>
            <a:ext cx="462915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09993C87-32AC-4404-AFF4-610FA0483FE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9714EFA4-1966-4260-924D-83D757C00E0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67EF5B02-3118-4F1E-BDFE-3E5D0FF237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5DDD9AE4-388A-41D7-9205-B1D15F6B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719301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CDF0CE5-5417-4BF0-AA56-E883C1A69F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710A5773-9821-44AD-8788-D7EC32621FA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2EF8551-DBD5-4CF8-99C9-592C11C7B93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370421F3-45C6-4993-8E68-361E30C51A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646A749-04A2-46B6-A94F-F895FD19B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2597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2832F161-A475-4C16-8693-49D396AD1D2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6" y="365125"/>
            <a:ext cx="1971675" cy="5811838"/>
          </a:xfrm>
          <a:prstGeom prst="rect">
            <a:avLst/>
          </a:prstGeo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8F2C5789-5073-45E2-B511-119A1BAE7F4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2" y="365125"/>
            <a:ext cx="5800725" cy="581183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1E414AD-B7EE-4F0B-8CDD-FA9BDD9580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7E40334-DF47-4D66-9898-49CEBCEFF2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D2D86727-5BDA-4806-B713-25BE0281B1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0296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4125" y="475760"/>
            <a:ext cx="6538546" cy="355600"/>
          </a:xfrm>
          <a:prstGeom prst="rect">
            <a:avLst/>
          </a:prstGeom>
        </p:spPr>
        <p:txBody>
          <a:bodyPr lIns="0" tIns="0" rIns="0" bIns="0" anchor="t">
            <a:noAutofit/>
          </a:bodyPr>
          <a:lstStyle>
            <a:lvl1pPr>
              <a:defRPr sz="3000" cap="none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113478" y="2223472"/>
            <a:ext cx="5898462" cy="150018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 marL="0" indent="0">
              <a:buNone/>
              <a:defRPr sz="2000" b="0">
                <a:solidFill>
                  <a:schemeClr val="accent3"/>
                </a:solidFill>
              </a:defRPr>
            </a:lvl1pPr>
            <a:lvl2pPr marL="45715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2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48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64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95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11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27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ubtitle 2"/>
          <p:cNvSpPr>
            <a:spLocks noGrp="1"/>
          </p:cNvSpPr>
          <p:nvPr>
            <p:ph type="subTitle" idx="13"/>
          </p:nvPr>
        </p:nvSpPr>
        <p:spPr>
          <a:xfrm>
            <a:off x="451339" y="935587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Slide Number Placeholder 4"/>
          <p:cNvSpPr txBox="1">
            <a:spLocks/>
          </p:cNvSpPr>
          <p:nvPr userDrawn="1"/>
        </p:nvSpPr>
        <p:spPr>
          <a:xfrm>
            <a:off x="6538268" y="603506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8678485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54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54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B95552-95B6-4D7F-A1AB-7F395FF7E3EF}" type="datetime1">
              <a:rPr lang="ru-RU" smtClean="0"/>
              <a:t>21.05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603618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455" y="476737"/>
            <a:ext cx="6752200" cy="454088"/>
          </a:xfrm>
          <a:prstGeom prst="rect">
            <a:avLst/>
          </a:prstGeom>
        </p:spPr>
        <p:txBody>
          <a:bodyPr lIns="0" tIns="0" rIns="0" bIns="0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51339" y="937968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6" name="Slide Number Placeholder 4"/>
          <p:cNvSpPr txBox="1">
            <a:spLocks/>
          </p:cNvSpPr>
          <p:nvPr userDrawn="1"/>
        </p:nvSpPr>
        <p:spPr>
          <a:xfrm>
            <a:off x="6538268" y="603506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64506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6" orient="horz" pos="504" userDrawn="1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341" y="475279"/>
            <a:ext cx="6752200" cy="569593"/>
          </a:xfrm>
          <a:prstGeom prst="rect">
            <a:avLst/>
          </a:prstGeom>
        </p:spPr>
        <p:txBody>
          <a:bodyPr lIns="0" tIns="0" rIns="0" bIns="0"/>
          <a:lstStyle>
            <a:lvl1pPr>
              <a:defRPr lang="en-US" dirty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 hasCustomPrompt="1"/>
          </p:nvPr>
        </p:nvSpPr>
        <p:spPr>
          <a:xfrm>
            <a:off x="2113090" y="1737363"/>
            <a:ext cx="6561992" cy="4309425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Clr>
                <a:schemeClr val="accent4"/>
              </a:buClr>
              <a:buFontTx/>
              <a:buNone/>
              <a:defRPr sz="2000" baseline="0">
                <a:solidFill>
                  <a:schemeClr val="tx1"/>
                </a:solidFill>
              </a:defRPr>
            </a:lvl1pPr>
            <a:lvl2pPr marL="9522" indent="0">
              <a:buNone/>
              <a:tabLst/>
              <a:defRPr sz="1500"/>
            </a:lvl2pPr>
            <a:lvl3pPr marL="9522" indent="0">
              <a:buNone/>
              <a:tabLst/>
              <a:defRPr sz="1400" b="1">
                <a:solidFill>
                  <a:schemeClr val="tx1"/>
                </a:solidFill>
              </a:defRPr>
            </a:lvl3pPr>
            <a:lvl4pPr marL="9522" indent="0">
              <a:buNone/>
              <a:tabLst/>
              <a:defRPr/>
            </a:lvl4pPr>
            <a:lvl5pPr marL="9522" indent="0">
              <a:buNone/>
              <a:tabLst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Subtitle 2"/>
          <p:cNvSpPr>
            <a:spLocks noGrp="1"/>
          </p:cNvSpPr>
          <p:nvPr>
            <p:ph type="subTitle" idx="14"/>
          </p:nvPr>
        </p:nvSpPr>
        <p:spPr>
          <a:xfrm>
            <a:off x="451339" y="935587"/>
            <a:ext cx="4071426" cy="440776"/>
          </a:xfrm>
          <a:prstGeom prst="rect">
            <a:avLst/>
          </a:prstGeom>
        </p:spPr>
        <p:txBody>
          <a:bodyPr lIns="0">
            <a:normAutofit/>
          </a:bodyPr>
          <a:lstStyle>
            <a:lvl1pPr marL="0" indent="0" algn="l">
              <a:buNone/>
              <a:defRPr sz="2000">
                <a:solidFill>
                  <a:schemeClr val="accent3"/>
                </a:solidFill>
                <a:latin typeface="+mj-lt"/>
              </a:defRPr>
            </a:lvl1pPr>
            <a:lvl2pPr marL="457159" indent="0" algn="ctr">
              <a:buNone/>
              <a:defRPr sz="2000"/>
            </a:lvl2pPr>
            <a:lvl3pPr marL="914320" indent="0" algn="ctr">
              <a:buNone/>
              <a:defRPr sz="1800"/>
            </a:lvl3pPr>
            <a:lvl4pPr marL="1371480" indent="0" algn="ctr">
              <a:buNone/>
              <a:defRPr sz="1600"/>
            </a:lvl4pPr>
            <a:lvl5pPr marL="1828640" indent="0" algn="ctr">
              <a:buNone/>
              <a:defRPr sz="1600"/>
            </a:lvl5pPr>
            <a:lvl6pPr marL="2285800" indent="0" algn="ctr">
              <a:buNone/>
              <a:defRPr sz="1600"/>
            </a:lvl6pPr>
            <a:lvl7pPr marL="2742959" indent="0" algn="ctr">
              <a:buNone/>
              <a:defRPr sz="1600"/>
            </a:lvl7pPr>
            <a:lvl8pPr marL="3200119" indent="0" algn="ctr">
              <a:buNone/>
              <a:defRPr sz="1600"/>
            </a:lvl8pPr>
            <a:lvl9pPr marL="3657279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8" name="Slide Number Placeholder 4"/>
          <p:cNvSpPr txBox="1">
            <a:spLocks/>
          </p:cNvSpPr>
          <p:nvPr userDrawn="1"/>
        </p:nvSpPr>
        <p:spPr>
          <a:xfrm>
            <a:off x="6538268" y="6050697"/>
            <a:ext cx="297179" cy="365125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 marL="0" algn="ctr" defTabSz="914321" rtl="0" eaLnBrk="1" latinLnBrk="0" hangingPunct="1"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3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480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64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5799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2962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12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281" algn="l" defTabSz="914321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6A51F0-E5B3-2D49-876A-2CB5B4572D55}" type="slidenum">
              <a:rPr lang="en-US" smtClean="0">
                <a:solidFill>
                  <a:srgbClr val="4472C4"/>
                </a:solidFill>
              </a:rPr>
              <a:pPr/>
              <a:t>‹#›</a:t>
            </a:fld>
            <a:endParaRPr lang="en-US" dirty="0">
              <a:solidFill>
                <a:srgbClr val="4472C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79760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6" orient="horz" pos="504" userDrawn="1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4F5D16-2ED2-4280-B11D-668718020A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9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313D824B-F52A-4716-B3A9-1C2E3E9FA8F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86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2F9A34A2-36A4-470A-B926-AB495230ED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28950" y="6356371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A0C7B2FB-E853-427C-BC78-C742BD63EC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457950" y="6356371"/>
            <a:ext cx="2057400" cy="365125"/>
          </a:xfrm>
          <a:prstGeom prst="rect">
            <a:avLst/>
          </a:prstGeom>
        </p:spPr>
        <p:txBody>
          <a:bodyPr/>
          <a:lstStyle/>
          <a:p>
            <a:fld id="{48F63A3B-78C7-47BE-AE5E-E10140E04643}" type="slidenum">
              <a:rPr lang="en-US" smtClean="0">
                <a:solidFill>
                  <a:prstClr val="black"/>
                </a:solidFill>
              </a:rPr>
              <a:pPr/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33209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5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7" y="5060520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8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01067" y="2034605"/>
            <a:ext cx="427361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260420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0"/>
            <a:ext cx="9144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3" y="342401"/>
            <a:ext cx="8195249" cy="470898"/>
          </a:xfrm>
          <a:prstGeom prst="rect">
            <a:avLst/>
          </a:prstGeom>
        </p:spPr>
        <p:txBody>
          <a:bodyPr vert="horz" wrap="square" lIns="0" tIns="0" rIns="0" bIns="0" anchor="ctr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1" i="0" u="none" kern="1200" spc="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375301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472500" y="1544274"/>
            <a:ext cx="25893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7083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9" y="2668041"/>
            <a:ext cx="7215368" cy="3201026"/>
          </a:xfrm>
          <a:prstGeom prst="rect">
            <a:avLst/>
          </a:prstGeom>
          <a:ln w="952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963557" y="1428131"/>
            <a:ext cx="710754" cy="947672"/>
          </a:xfrm>
          <a:prstGeom prst="rect">
            <a:avLst/>
          </a:prstGeom>
          <a:noFill/>
          <a:ln w="10795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61290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464174" y="3680016"/>
            <a:ext cx="8682228" cy="0"/>
          </a:xfrm>
          <a:prstGeom prst="line">
            <a:avLst/>
          </a:prstGeom>
          <a:ln w="19050" cap="flat" cmpd="sng" algn="ctr">
            <a:solidFill>
              <a:schemeClr val="tx1">
                <a:lumMod val="60000"/>
                <a:lumOff val="40000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514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8" y="0"/>
            <a:ext cx="312713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2" y="0"/>
            <a:ext cx="305963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472502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447924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7" y="0"/>
            <a:ext cx="312713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2" y="0"/>
            <a:ext cx="5378967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841200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9EED40-BCEA-4880-AC04-333088B79CEE}" type="datetime1">
              <a:rPr lang="ru-RU" smtClean="0"/>
              <a:t>21.05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7538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4" y="0"/>
            <a:ext cx="312713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472502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3060573" y="-1309"/>
            <a:ext cx="6083428" cy="685930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39189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9" y="0"/>
            <a:ext cx="312713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8" y="0"/>
            <a:ext cx="4574983" cy="6858000"/>
          </a:xfrm>
          <a:prstGeom prst="rect">
            <a:avLst/>
          </a:prstGeom>
          <a:solidFill>
            <a:srgbClr val="F2F2F2"/>
          </a:solidFill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5084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9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5864660" y="0"/>
            <a:ext cx="327934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21" y="0"/>
            <a:ext cx="3278981" cy="6858000"/>
          </a:xfrm>
          <a:prstGeom prst="rect">
            <a:avLst/>
          </a:prstGeom>
          <a:solidFill>
            <a:srgbClr val="F2F2F2"/>
          </a:solidFill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1" y="3917295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80465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30730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2764208"/>
            <a:ext cx="185897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417185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2764208"/>
            <a:ext cx="1858979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33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232422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9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6" y="3394397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133861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0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6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875240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2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622800"/>
            <a:ext cx="3505235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767853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622800"/>
            <a:ext cx="3505235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30" y="3407808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58621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7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09281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46B681-64C0-443B-B588-260C2221CCD7}" type="datetime1">
              <a:rPr lang="ru-RU" smtClean="0"/>
              <a:t>21.05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120892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9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46926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2" y="3407808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105205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1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03191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472500" y="625475"/>
            <a:ext cx="699516" cy="932688"/>
          </a:xfrm>
          <a:prstGeom prst="rect">
            <a:avLst/>
          </a:prstGeom>
          <a:noFill/>
          <a:ln>
            <a:solidFill>
              <a:srgbClr val="88888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888888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19062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1"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5001941" y="1353923"/>
            <a:ext cx="769257" cy="7514866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5"/>
            <a:ext cx="9144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rgbClr val="9A9A9A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37249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79797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72500" y="622800"/>
            <a:ext cx="81999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3648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19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9459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4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8375904" y="6404400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595959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595959"/>
              </a:solidFill>
              <a:sym typeface="PT Sans Caption" panose="020B060302020302020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56774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claimer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6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0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08798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9" name="Rectangle 8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7" y="5060520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91970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9" name="Group 48"/>
          <p:cNvGrpSpPr/>
          <p:nvPr userDrawn="1"/>
        </p:nvGrpSpPr>
        <p:grpSpPr>
          <a:xfrm>
            <a:off x="-450" y="-1"/>
            <a:ext cx="914535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solidFill>
                  <a:srgbClr val="575757"/>
                </a:solidFill>
                <a:sym typeface="PT Sans Caption" panose="020B0603020203020204" charset="0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95959"/>
                </a:solidFill>
                <a:sym typeface="PT Sans Caption" panose="020B0603020203020204" charset="0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95959"/>
                  </a:solidFill>
                  <a:sym typeface="PT Sans Caption" panose="020B0603020203020204" charset="0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rgbClr val="FFFFFF"/>
                </a:solidFill>
                <a:sym typeface="PT Sans Caption" panose="020B0603020203020204" charset="0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29999" y="6005942"/>
              <a:ext cx="10151211" cy="5539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1. xxxx  2. xxxx  3. xxxx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Note: List footnotes in numerical order. Footnote numbers are not bracketed. Use 10pt font.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srgbClr val="FFFFFF">
                      <a:lumMod val="50000"/>
                    </a:srgbClr>
                  </a:solidFill>
                  <a:sym typeface="PT Sans Caption" panose="020B060302020302020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7286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457202" y="273103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106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9F093F-0534-4A84-A5C6-C09188AF96AA}" type="datetime1">
              <a:rPr lang="ru-RU" smtClean="0"/>
              <a:t>2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8302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9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42304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8EC9">
              <a:alpha val="40000"/>
            </a:srgbClr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1" name="Shape 54"/>
          <p:cNvPicPr preferRelativeResize="0"/>
          <p:nvPr userDrawn="1"/>
        </p:nvPicPr>
        <p:blipFill>
          <a:blip r:embed="rId7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6267" y="5060520"/>
            <a:ext cx="3011459" cy="130784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" name="Shape 56"/>
          <p:cNvPicPr preferRelativeResize="0"/>
          <p:nvPr userDrawn="1"/>
        </p:nvPicPr>
        <p:blipFill>
          <a:blip r:embed="rId8">
            <a:alphaModFix/>
          </a:blip>
          <a:stretch>
            <a:fillRect/>
          </a:stretch>
        </p:blipFill>
        <p:spPr>
          <a:xfrm>
            <a:off x="461520" y="562045"/>
            <a:ext cx="1010044" cy="2594514"/>
          </a:xfrm>
          <a:prstGeom prst="rect">
            <a:avLst/>
          </a:prstGeom>
          <a:noFill/>
          <a:ln>
            <a:noFill/>
          </a:ln>
        </p:spPr>
      </p:pic>
      <p:sp>
        <p:nvSpPr>
          <p:cNvPr id="15" name="Title 4"/>
          <p:cNvSpPr>
            <a:spLocks noGrp="1"/>
          </p:cNvSpPr>
          <p:nvPr>
            <p:ph type="title" hasCustomPrompt="1"/>
          </p:nvPr>
        </p:nvSpPr>
        <p:spPr>
          <a:xfrm>
            <a:off x="3701067" y="2034605"/>
            <a:ext cx="4273619" cy="1394494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Ключевые направления деятельности ЦРПТ</a:t>
            </a:r>
            <a:br>
              <a:rPr lang="ru-RU" dirty="0"/>
            </a:br>
            <a:r>
              <a:rPr lang="ru-RU" dirty="0"/>
              <a:t>Июнь, 2018</a:t>
            </a:r>
          </a:p>
        </p:txBody>
      </p:sp>
    </p:spTree>
    <p:extLst>
      <p:ext uri="{BB962C8B-B14F-4D97-AF65-F5344CB8AC3E}">
        <p14:creationId xmlns:p14="http://schemas.microsoft.com/office/powerpoint/2010/main" val="3490063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0"/>
            <a:ext cx="9144000" cy="115570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472499" y="411656"/>
            <a:ext cx="8195250" cy="332399"/>
          </a:xfrm>
        </p:spPr>
        <p:txBody>
          <a:bodyPr anchor="ctr"/>
          <a:lstStyle>
            <a:lvl1pPr>
              <a:defRPr b="1"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658318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8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35208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472500" y="2158992"/>
            <a:ext cx="2808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1227053"/>
            <a:ext cx="2808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83024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963559" y="2668041"/>
            <a:ext cx="7215368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960522" y="1424085"/>
            <a:ext cx="713791" cy="951721"/>
          </a:xfrm>
          <a:prstGeom prst="rect">
            <a:avLst/>
          </a:prstGeom>
          <a:noFill/>
          <a:ln>
            <a:solidFill>
              <a:srgbClr val="888888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0102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35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3826800"/>
            <a:ext cx="82026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472501" y="3680016"/>
            <a:ext cx="8668940" cy="0"/>
          </a:xfrm>
          <a:prstGeom prst="line">
            <a:avLst/>
          </a:prstGeom>
          <a:ln w="19050" cmpd="sng">
            <a:solidFill>
              <a:srgbClr val="888888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6916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solidFill>
          <a:srgbClr val="BFBFB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5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3048748" y="0"/>
            <a:ext cx="312713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2" y="0"/>
            <a:ext cx="3059631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472502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35787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83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5374207" y="0"/>
            <a:ext cx="312713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2" y="0"/>
            <a:ext cx="537896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2" y="622805"/>
            <a:ext cx="470739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153397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6771937" y="0"/>
            <a:ext cx="312713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6775704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5"/>
            <a:ext cx="6076188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942248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2753304" y="0"/>
            <a:ext cx="312713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472502" y="2681103"/>
            <a:ext cx="234591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3060573" y="-1309"/>
            <a:ext cx="6083428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3188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4267189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4569018" y="0"/>
            <a:ext cx="4574983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472500" y="1785600"/>
            <a:ext cx="32913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59419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1792288" y="4800654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92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D855E-7EBE-4BC6-A9E5-3A9C9A1015C3}" type="datetime1">
              <a:rPr lang="ru-RU" smtClean="0"/>
              <a:t>21.05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199882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7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557389" y="0"/>
            <a:ext cx="312713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5864660" y="0"/>
            <a:ext cx="327934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5865021" y="0"/>
            <a:ext cx="3278981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473202" y="1785600"/>
            <a:ext cx="4685664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540105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3" name="think-cell Slide" r:id="rId6" imgW="324" imgH="324" progId="TCLayout.ActiveDocument.1">
                  <p:embed/>
                </p:oleObj>
              </mc:Choice>
              <mc:Fallback>
                <p:oleObj name="think-cell Slide" r:id="rId6" imgW="324" imgH="3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2764208"/>
            <a:ext cx="1858979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9331" y="3590399"/>
            <a:ext cx="1023938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038880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27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143" y="1310"/>
            <a:ext cx="3066234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2" y="2764208"/>
            <a:ext cx="1858979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1630981" y="3402833"/>
            <a:ext cx="2021000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045141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1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6146" y="3394397"/>
            <a:ext cx="973931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8240049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75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407019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785600"/>
            <a:ext cx="3046676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2683546" y="3416300"/>
            <a:ext cx="2021000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92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99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622805"/>
            <a:ext cx="3560867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8354" y="3589606"/>
            <a:ext cx="1023938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49254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1" y="0"/>
            <a:ext cx="4772660" cy="6858000"/>
          </a:xfrm>
          <a:prstGeom prst="homePlate">
            <a:avLst>
              <a:gd name="adj" fmla="val 12939"/>
            </a:avLst>
          </a:pr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472502" y="622805"/>
            <a:ext cx="3560867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3345130" y="3407808"/>
            <a:ext cx="2021000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23333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47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5"/>
            <a:ext cx="469087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7756" y="3589606"/>
            <a:ext cx="1023938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367384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1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2" y="0"/>
            <a:ext cx="633467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0">
                <a:srgbClr val="BFBFBF"/>
              </a:gs>
              <a:gs pos="100000">
                <a:srgbClr val="BFBFBF"/>
              </a:gs>
            </a:gsLst>
            <a:lin ang="81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PT Sans Caption" panose="020B060302020302020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622805"/>
            <a:ext cx="469087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595959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925722" y="3407808"/>
            <a:ext cx="2021000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816838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 flip="none" rotWithShape="1">
          <a:gsLst>
            <a:gs pos="0">
              <a:srgbClr val="BFBFBF"/>
            </a:gs>
            <a:gs pos="100000">
              <a:srgbClr val="BFBFBF"/>
            </a:gs>
          </a:gsLst>
          <a:lin ang="81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95" name="think-cell Slide" r:id="rId6" imgW="352" imgH="355" progId="TCLayout.ActiveDocument.1">
                  <p:embed/>
                </p:oleObj>
              </mc:Choice>
              <mc:Fallback>
                <p:oleObj name="think-cell Slide" r:id="rId6" imgW="352" imgH="35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7258051" y="6405036"/>
            <a:ext cx="1111538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6473431" y="3922501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/>
                </a:solidFill>
                <a:sym typeface="PT Sans Caption" panose="020B0603020203020204" charset="0"/>
              </a:rPr>
              <a:t>Copyright © 2018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/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72500" y="3826333"/>
            <a:ext cx="81999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rgbClr val="595959"/>
                </a:solidFill>
                <a:latin typeface="PT Sans Caption" panose="020B0603020203020204" charset="0"/>
                <a:ea typeface="+mn-ea"/>
                <a:cs typeface="Arial" panose="020B0604020202020204" pitchFamily="34" charset="0"/>
                <a:sym typeface="PT Sans Caption" panose="020B060302020302020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7578090" y="5117888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>
                <a:solidFill>
                  <a:srgbClr val="FFFFFF"/>
                </a:solidFill>
                <a:sym typeface="PT Sans Caption" panose="020B0603020203020204" charset="0"/>
              </a:rPr>
              <a:t>20180710-УК проект фарма-</a:t>
            </a:r>
            <a:r>
              <a:rPr lang="en-US" sz="700">
                <a:solidFill>
                  <a:srgbClr val="FFFFFF"/>
                </a:solidFill>
                <a:sym typeface="PT Sans Caption" panose="020B0603020203020204" charset="0"/>
              </a:rPr>
              <a:t>V06-SS.pptx</a:t>
            </a:r>
            <a:endParaRPr lang="en-US" sz="700" dirty="0">
              <a:solidFill>
                <a:srgbClr val="FFFFFF"/>
              </a:solidFill>
              <a:sym typeface="PT Sans Caption" panose="020B0603020203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34684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2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227.xml"/><Relationship Id="rId7" Type="http://schemas.openxmlformats.org/officeDocument/2006/relationships/slideLayout" Target="../slideLayouts/slideLayout231.xml"/><Relationship Id="rId12" Type="http://schemas.openxmlformats.org/officeDocument/2006/relationships/slideLayout" Target="../slideLayouts/slideLayout236.xml"/><Relationship Id="rId2" Type="http://schemas.openxmlformats.org/officeDocument/2006/relationships/slideLayout" Target="../slideLayouts/slideLayout226.xml"/><Relationship Id="rId1" Type="http://schemas.openxmlformats.org/officeDocument/2006/relationships/slideLayout" Target="../slideLayouts/slideLayout225.xml"/><Relationship Id="rId6" Type="http://schemas.openxmlformats.org/officeDocument/2006/relationships/slideLayout" Target="../slideLayouts/slideLayout230.xml"/><Relationship Id="rId11" Type="http://schemas.openxmlformats.org/officeDocument/2006/relationships/slideLayout" Target="../slideLayouts/slideLayout235.xml"/><Relationship Id="rId5" Type="http://schemas.openxmlformats.org/officeDocument/2006/relationships/slideLayout" Target="../slideLayouts/slideLayout229.xml"/><Relationship Id="rId10" Type="http://schemas.openxmlformats.org/officeDocument/2006/relationships/slideLayout" Target="../slideLayouts/slideLayout234.xml"/><Relationship Id="rId4" Type="http://schemas.openxmlformats.org/officeDocument/2006/relationships/slideLayout" Target="../slideLayouts/slideLayout228.xml"/><Relationship Id="rId9" Type="http://schemas.openxmlformats.org/officeDocument/2006/relationships/slideLayout" Target="../slideLayouts/slideLayout233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4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239.xml"/><Relationship Id="rId7" Type="http://schemas.openxmlformats.org/officeDocument/2006/relationships/slideLayout" Target="../slideLayouts/slideLayout243.xml"/><Relationship Id="rId12" Type="http://schemas.openxmlformats.org/officeDocument/2006/relationships/slideLayout" Target="../slideLayouts/slideLayout248.xml"/><Relationship Id="rId2" Type="http://schemas.openxmlformats.org/officeDocument/2006/relationships/slideLayout" Target="../slideLayouts/slideLayout238.xml"/><Relationship Id="rId1" Type="http://schemas.openxmlformats.org/officeDocument/2006/relationships/slideLayout" Target="../slideLayouts/slideLayout237.xml"/><Relationship Id="rId6" Type="http://schemas.openxmlformats.org/officeDocument/2006/relationships/slideLayout" Target="../slideLayouts/slideLayout242.xml"/><Relationship Id="rId11" Type="http://schemas.openxmlformats.org/officeDocument/2006/relationships/slideLayout" Target="../slideLayouts/slideLayout247.xml"/><Relationship Id="rId5" Type="http://schemas.openxmlformats.org/officeDocument/2006/relationships/slideLayout" Target="../slideLayouts/slideLayout241.xml"/><Relationship Id="rId10" Type="http://schemas.openxmlformats.org/officeDocument/2006/relationships/slideLayout" Target="../slideLayouts/slideLayout246.xml"/><Relationship Id="rId4" Type="http://schemas.openxmlformats.org/officeDocument/2006/relationships/slideLayout" Target="../slideLayouts/slideLayout240.xml"/><Relationship Id="rId9" Type="http://schemas.openxmlformats.org/officeDocument/2006/relationships/slideLayout" Target="../slideLayouts/slideLayout245.xml"/><Relationship Id="rId1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6.xml"/><Relationship Id="rId13" Type="http://schemas.openxmlformats.org/officeDocument/2006/relationships/theme" Target="../theme/theme12.xml"/><Relationship Id="rId3" Type="http://schemas.openxmlformats.org/officeDocument/2006/relationships/slideLayout" Target="../slideLayouts/slideLayout251.xml"/><Relationship Id="rId7" Type="http://schemas.openxmlformats.org/officeDocument/2006/relationships/slideLayout" Target="../slideLayouts/slideLayout255.xml"/><Relationship Id="rId12" Type="http://schemas.openxmlformats.org/officeDocument/2006/relationships/slideLayout" Target="../slideLayouts/slideLayout260.xml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slideLayout" Target="../slideLayouts/slideLayout254.xml"/><Relationship Id="rId11" Type="http://schemas.openxmlformats.org/officeDocument/2006/relationships/slideLayout" Target="../slideLayouts/slideLayout259.xml"/><Relationship Id="rId5" Type="http://schemas.openxmlformats.org/officeDocument/2006/relationships/slideLayout" Target="../slideLayouts/slideLayout253.xml"/><Relationship Id="rId10" Type="http://schemas.openxmlformats.org/officeDocument/2006/relationships/slideLayout" Target="../slideLayouts/slideLayout258.xml"/><Relationship Id="rId4" Type="http://schemas.openxmlformats.org/officeDocument/2006/relationships/slideLayout" Target="../slideLayouts/slideLayout252.xml"/><Relationship Id="rId9" Type="http://schemas.openxmlformats.org/officeDocument/2006/relationships/slideLayout" Target="../slideLayouts/slideLayout257.xml"/><Relationship Id="rId14" Type="http://schemas.openxmlformats.org/officeDocument/2006/relationships/image" Target="../media/image1.jpe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8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263.xml"/><Relationship Id="rId7" Type="http://schemas.openxmlformats.org/officeDocument/2006/relationships/slideLayout" Target="../slideLayouts/slideLayout267.xml"/><Relationship Id="rId12" Type="http://schemas.openxmlformats.org/officeDocument/2006/relationships/slideLayout" Target="../slideLayouts/slideLayout272.xml"/><Relationship Id="rId2" Type="http://schemas.openxmlformats.org/officeDocument/2006/relationships/slideLayout" Target="../slideLayouts/slideLayout262.xml"/><Relationship Id="rId1" Type="http://schemas.openxmlformats.org/officeDocument/2006/relationships/slideLayout" Target="../slideLayouts/slideLayout261.xml"/><Relationship Id="rId6" Type="http://schemas.openxmlformats.org/officeDocument/2006/relationships/slideLayout" Target="../slideLayouts/slideLayout266.xml"/><Relationship Id="rId11" Type="http://schemas.openxmlformats.org/officeDocument/2006/relationships/slideLayout" Target="../slideLayouts/slideLayout271.xml"/><Relationship Id="rId5" Type="http://schemas.openxmlformats.org/officeDocument/2006/relationships/slideLayout" Target="../slideLayouts/slideLayout265.xml"/><Relationship Id="rId10" Type="http://schemas.openxmlformats.org/officeDocument/2006/relationships/slideLayout" Target="../slideLayouts/slideLayout270.xml"/><Relationship Id="rId4" Type="http://schemas.openxmlformats.org/officeDocument/2006/relationships/slideLayout" Target="../slideLayouts/slideLayout264.xml"/><Relationship Id="rId9" Type="http://schemas.openxmlformats.org/officeDocument/2006/relationships/slideLayout" Target="../slideLayouts/slideLayout269.xml"/><Relationship Id="rId14" Type="http://schemas.openxmlformats.org/officeDocument/2006/relationships/image" Target="../media/image1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0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275.xml"/><Relationship Id="rId7" Type="http://schemas.openxmlformats.org/officeDocument/2006/relationships/slideLayout" Target="../slideLayouts/slideLayout279.xml"/><Relationship Id="rId12" Type="http://schemas.openxmlformats.org/officeDocument/2006/relationships/slideLayout" Target="../slideLayouts/slideLayout284.xml"/><Relationship Id="rId2" Type="http://schemas.openxmlformats.org/officeDocument/2006/relationships/slideLayout" Target="../slideLayouts/slideLayout274.xml"/><Relationship Id="rId1" Type="http://schemas.openxmlformats.org/officeDocument/2006/relationships/slideLayout" Target="../slideLayouts/slideLayout273.xml"/><Relationship Id="rId6" Type="http://schemas.openxmlformats.org/officeDocument/2006/relationships/slideLayout" Target="../slideLayouts/slideLayout278.xml"/><Relationship Id="rId11" Type="http://schemas.openxmlformats.org/officeDocument/2006/relationships/slideLayout" Target="../slideLayouts/slideLayout283.xml"/><Relationship Id="rId5" Type="http://schemas.openxmlformats.org/officeDocument/2006/relationships/slideLayout" Target="../slideLayouts/slideLayout277.xml"/><Relationship Id="rId10" Type="http://schemas.openxmlformats.org/officeDocument/2006/relationships/slideLayout" Target="../slideLayouts/slideLayout282.xml"/><Relationship Id="rId4" Type="http://schemas.openxmlformats.org/officeDocument/2006/relationships/slideLayout" Target="../slideLayouts/slideLayout276.xml"/><Relationship Id="rId9" Type="http://schemas.openxmlformats.org/officeDocument/2006/relationships/slideLayout" Target="../slideLayouts/slideLayout281.xml"/><Relationship Id="rId1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2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91.xml"/><Relationship Id="rId12" Type="http://schemas.openxmlformats.org/officeDocument/2006/relationships/slideLayout" Target="../slideLayouts/slideLayout296.xml"/><Relationship Id="rId2" Type="http://schemas.openxmlformats.org/officeDocument/2006/relationships/slideLayout" Target="../slideLayouts/slideLayout286.xml"/><Relationship Id="rId1" Type="http://schemas.openxmlformats.org/officeDocument/2006/relationships/slideLayout" Target="../slideLayouts/slideLayout285.xml"/><Relationship Id="rId6" Type="http://schemas.openxmlformats.org/officeDocument/2006/relationships/slideLayout" Target="../slideLayouts/slideLayout290.xml"/><Relationship Id="rId11" Type="http://schemas.openxmlformats.org/officeDocument/2006/relationships/slideLayout" Target="../slideLayouts/slideLayout295.xml"/><Relationship Id="rId5" Type="http://schemas.openxmlformats.org/officeDocument/2006/relationships/slideLayout" Target="../slideLayouts/slideLayout289.xml"/><Relationship Id="rId10" Type="http://schemas.openxmlformats.org/officeDocument/2006/relationships/slideLayout" Target="../slideLayouts/slideLayout294.xml"/><Relationship Id="rId4" Type="http://schemas.openxmlformats.org/officeDocument/2006/relationships/slideLayout" Target="../slideLayouts/slideLayout288.xml"/><Relationship Id="rId9" Type="http://schemas.openxmlformats.org/officeDocument/2006/relationships/slideLayout" Target="../slideLayouts/slideLayout293.xml"/><Relationship Id="rId14" Type="http://schemas.openxmlformats.org/officeDocument/2006/relationships/image" Target="../media/image1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4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299.xml"/><Relationship Id="rId7" Type="http://schemas.openxmlformats.org/officeDocument/2006/relationships/slideLayout" Target="../slideLayouts/slideLayout303.xml"/><Relationship Id="rId12" Type="http://schemas.openxmlformats.org/officeDocument/2006/relationships/slideLayout" Target="../slideLayouts/slideLayout308.xml"/><Relationship Id="rId2" Type="http://schemas.openxmlformats.org/officeDocument/2006/relationships/slideLayout" Target="../slideLayouts/slideLayout298.xml"/><Relationship Id="rId1" Type="http://schemas.openxmlformats.org/officeDocument/2006/relationships/slideLayout" Target="../slideLayouts/slideLayout297.xml"/><Relationship Id="rId6" Type="http://schemas.openxmlformats.org/officeDocument/2006/relationships/slideLayout" Target="../slideLayouts/slideLayout302.xml"/><Relationship Id="rId11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301.xml"/><Relationship Id="rId10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300.xml"/><Relationship Id="rId9" Type="http://schemas.openxmlformats.org/officeDocument/2006/relationships/slideLayout" Target="../slideLayouts/slideLayout305.xml"/><Relationship Id="rId14" Type="http://schemas.openxmlformats.org/officeDocument/2006/relationships/image" Target="../media/image1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6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311.xml"/><Relationship Id="rId7" Type="http://schemas.openxmlformats.org/officeDocument/2006/relationships/slideLayout" Target="../slideLayouts/slideLayout315.xml"/><Relationship Id="rId12" Type="http://schemas.openxmlformats.org/officeDocument/2006/relationships/slideLayout" Target="../slideLayouts/slideLayout320.xml"/><Relationship Id="rId2" Type="http://schemas.openxmlformats.org/officeDocument/2006/relationships/slideLayout" Target="../slideLayouts/slideLayout310.xml"/><Relationship Id="rId1" Type="http://schemas.openxmlformats.org/officeDocument/2006/relationships/slideLayout" Target="../slideLayouts/slideLayout309.xml"/><Relationship Id="rId6" Type="http://schemas.openxmlformats.org/officeDocument/2006/relationships/slideLayout" Target="../slideLayouts/slideLayout314.xml"/><Relationship Id="rId11" Type="http://schemas.openxmlformats.org/officeDocument/2006/relationships/slideLayout" Target="../slideLayouts/slideLayout319.xml"/><Relationship Id="rId5" Type="http://schemas.openxmlformats.org/officeDocument/2006/relationships/slideLayout" Target="../slideLayouts/slideLayout313.xml"/><Relationship Id="rId10" Type="http://schemas.openxmlformats.org/officeDocument/2006/relationships/slideLayout" Target="../slideLayouts/slideLayout318.xml"/><Relationship Id="rId4" Type="http://schemas.openxmlformats.org/officeDocument/2006/relationships/slideLayout" Target="../slideLayouts/slideLayout312.xml"/><Relationship Id="rId9" Type="http://schemas.openxmlformats.org/officeDocument/2006/relationships/slideLayout" Target="../slideLayouts/slideLayout317.xml"/><Relationship Id="rId14" Type="http://schemas.openxmlformats.org/officeDocument/2006/relationships/image" Target="../media/image1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theme" Target="../theme/theme18.xml"/><Relationship Id="rId3" Type="http://schemas.openxmlformats.org/officeDocument/2006/relationships/slideLayout" Target="../slideLayouts/slideLayout323.xml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2" Type="http://schemas.openxmlformats.org/officeDocument/2006/relationships/slideLayout" Target="../slideLayouts/slideLayout322.xml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0" Type="http://schemas.openxmlformats.org/officeDocument/2006/relationships/slideLayout" Target="../slideLayouts/slideLayout330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image" Target="../media/image1.jpe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0.xml"/><Relationship Id="rId3" Type="http://schemas.openxmlformats.org/officeDocument/2006/relationships/slideLayout" Target="../slideLayouts/slideLayout335.xml"/><Relationship Id="rId7" Type="http://schemas.openxmlformats.org/officeDocument/2006/relationships/slideLayout" Target="../slideLayouts/slideLayout339.xml"/><Relationship Id="rId12" Type="http://schemas.openxmlformats.org/officeDocument/2006/relationships/theme" Target="../theme/theme19.xml"/><Relationship Id="rId2" Type="http://schemas.openxmlformats.org/officeDocument/2006/relationships/slideLayout" Target="../slideLayouts/slideLayout334.xml"/><Relationship Id="rId1" Type="http://schemas.openxmlformats.org/officeDocument/2006/relationships/slideLayout" Target="../slideLayouts/slideLayout333.xml"/><Relationship Id="rId6" Type="http://schemas.openxmlformats.org/officeDocument/2006/relationships/slideLayout" Target="../slideLayouts/slideLayout338.xml"/><Relationship Id="rId11" Type="http://schemas.openxmlformats.org/officeDocument/2006/relationships/slideLayout" Target="../slideLayouts/slideLayout343.xml"/><Relationship Id="rId5" Type="http://schemas.openxmlformats.org/officeDocument/2006/relationships/slideLayout" Target="../slideLayouts/slideLayout337.xml"/><Relationship Id="rId10" Type="http://schemas.openxmlformats.org/officeDocument/2006/relationships/slideLayout" Target="../slideLayouts/slideLayout342.xml"/><Relationship Id="rId4" Type="http://schemas.openxmlformats.org/officeDocument/2006/relationships/slideLayout" Target="../slideLayouts/slideLayout336.xml"/><Relationship Id="rId9" Type="http://schemas.openxmlformats.org/officeDocument/2006/relationships/slideLayout" Target="../slideLayouts/slideLayout34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2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image" Target="../media/image5.png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image" Target="../media/image4.jpeg"/><Relationship Id="rId2" Type="http://schemas.openxmlformats.org/officeDocument/2006/relationships/slideLayout" Target="../slideLayouts/slideLayout3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9" Type="http://schemas.openxmlformats.org/officeDocument/2006/relationships/slideLayout" Target="../slideLayouts/slideLayout91.xml"/><Relationship Id="rId21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86.xml"/><Relationship Id="rId42" Type="http://schemas.openxmlformats.org/officeDocument/2006/relationships/slideLayout" Target="../slideLayouts/slideLayout94.xml"/><Relationship Id="rId47" Type="http://schemas.openxmlformats.org/officeDocument/2006/relationships/slideLayout" Target="../slideLayouts/slideLayout99.xml"/><Relationship Id="rId50" Type="http://schemas.openxmlformats.org/officeDocument/2006/relationships/slideLayout" Target="../slideLayouts/slideLayout102.xml"/><Relationship Id="rId55" Type="http://schemas.openxmlformats.org/officeDocument/2006/relationships/slideLayout" Target="../slideLayouts/slideLayout107.xml"/><Relationship Id="rId63" Type="http://schemas.openxmlformats.org/officeDocument/2006/relationships/slideLayout" Target="../slideLayouts/slideLayout115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59.xml"/><Relationship Id="rId71" Type="http://schemas.openxmlformats.org/officeDocument/2006/relationships/image" Target="../media/image6.emf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81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slideLayout" Target="../slideLayouts/slideLayout84.xml"/><Relationship Id="rId37" Type="http://schemas.openxmlformats.org/officeDocument/2006/relationships/slideLayout" Target="../slideLayouts/slideLayout89.xml"/><Relationship Id="rId40" Type="http://schemas.openxmlformats.org/officeDocument/2006/relationships/slideLayout" Target="../slideLayouts/slideLayout92.xml"/><Relationship Id="rId45" Type="http://schemas.openxmlformats.org/officeDocument/2006/relationships/slideLayout" Target="../slideLayouts/slideLayout97.xml"/><Relationship Id="rId53" Type="http://schemas.openxmlformats.org/officeDocument/2006/relationships/slideLayout" Target="../slideLayouts/slideLayout105.xml"/><Relationship Id="rId58" Type="http://schemas.openxmlformats.org/officeDocument/2006/relationships/slideLayout" Target="../slideLayouts/slideLayout110.xml"/><Relationship Id="rId66" Type="http://schemas.openxmlformats.org/officeDocument/2006/relationships/slideLayout" Target="../slideLayouts/slideLayout118.xml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slideLayout" Target="../slideLayouts/slideLayout80.xml"/><Relationship Id="rId36" Type="http://schemas.openxmlformats.org/officeDocument/2006/relationships/slideLayout" Target="../slideLayouts/slideLayout88.xml"/><Relationship Id="rId49" Type="http://schemas.openxmlformats.org/officeDocument/2006/relationships/slideLayout" Target="../slideLayouts/slideLayout101.xml"/><Relationship Id="rId57" Type="http://schemas.openxmlformats.org/officeDocument/2006/relationships/slideLayout" Target="../slideLayouts/slideLayout109.xml"/><Relationship Id="rId61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slideLayout" Target="../slideLayouts/slideLayout83.xml"/><Relationship Id="rId44" Type="http://schemas.openxmlformats.org/officeDocument/2006/relationships/slideLayout" Target="../slideLayouts/slideLayout96.xml"/><Relationship Id="rId52" Type="http://schemas.openxmlformats.org/officeDocument/2006/relationships/slideLayout" Target="../slideLayouts/slideLayout104.xml"/><Relationship Id="rId60" Type="http://schemas.openxmlformats.org/officeDocument/2006/relationships/slideLayout" Target="../slideLayouts/slideLayout112.xml"/><Relationship Id="rId65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slideLayout" Target="../slideLayouts/slideLayout79.xml"/><Relationship Id="rId30" Type="http://schemas.openxmlformats.org/officeDocument/2006/relationships/slideLayout" Target="../slideLayouts/slideLayout82.xml"/><Relationship Id="rId35" Type="http://schemas.openxmlformats.org/officeDocument/2006/relationships/slideLayout" Target="../slideLayouts/slideLayout87.xml"/><Relationship Id="rId43" Type="http://schemas.openxmlformats.org/officeDocument/2006/relationships/slideLayout" Target="../slideLayouts/slideLayout95.xml"/><Relationship Id="rId48" Type="http://schemas.openxmlformats.org/officeDocument/2006/relationships/slideLayout" Target="../slideLayouts/slideLayout100.xml"/><Relationship Id="rId56" Type="http://schemas.openxmlformats.org/officeDocument/2006/relationships/slideLayout" Target="../slideLayouts/slideLayout108.xml"/><Relationship Id="rId64" Type="http://schemas.openxmlformats.org/officeDocument/2006/relationships/slideLayout" Target="../slideLayouts/slideLayout116.xml"/><Relationship Id="rId69" Type="http://schemas.openxmlformats.org/officeDocument/2006/relationships/tags" Target="../tags/tag1.xml"/><Relationship Id="rId8" Type="http://schemas.openxmlformats.org/officeDocument/2006/relationships/slideLayout" Target="../slideLayouts/slideLayout60.xml"/><Relationship Id="rId51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slideLayout" Target="../slideLayouts/slideLayout85.xml"/><Relationship Id="rId38" Type="http://schemas.openxmlformats.org/officeDocument/2006/relationships/slideLayout" Target="../slideLayouts/slideLayout90.xml"/><Relationship Id="rId46" Type="http://schemas.openxmlformats.org/officeDocument/2006/relationships/slideLayout" Target="../slideLayouts/slideLayout98.xml"/><Relationship Id="rId59" Type="http://schemas.openxmlformats.org/officeDocument/2006/relationships/slideLayout" Target="../slideLayouts/slideLayout111.xml"/><Relationship Id="rId67" Type="http://schemas.openxmlformats.org/officeDocument/2006/relationships/theme" Target="../theme/theme5.xml"/><Relationship Id="rId20" Type="http://schemas.openxmlformats.org/officeDocument/2006/relationships/slideLayout" Target="../slideLayouts/slideLayout72.xml"/><Relationship Id="rId41" Type="http://schemas.openxmlformats.org/officeDocument/2006/relationships/slideLayout" Target="../slideLayouts/slideLayout93.xml"/><Relationship Id="rId54" Type="http://schemas.openxmlformats.org/officeDocument/2006/relationships/slideLayout" Target="../slideLayouts/slideLayout106.xml"/><Relationship Id="rId62" Type="http://schemas.openxmlformats.org/officeDocument/2006/relationships/slideLayout" Target="../slideLayouts/slideLayout114.xml"/><Relationship Id="rId70" Type="http://schemas.openxmlformats.org/officeDocument/2006/relationships/oleObject" Target="../embeddings/oleObject1.bin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1.xml"/><Relationship Id="rId18" Type="http://schemas.openxmlformats.org/officeDocument/2006/relationships/slideLayout" Target="../slideLayouts/slideLayout136.xml"/><Relationship Id="rId26" Type="http://schemas.openxmlformats.org/officeDocument/2006/relationships/slideLayout" Target="../slideLayouts/slideLayout144.xml"/><Relationship Id="rId39" Type="http://schemas.openxmlformats.org/officeDocument/2006/relationships/slideLayout" Target="../slideLayouts/slideLayout157.xml"/><Relationship Id="rId21" Type="http://schemas.openxmlformats.org/officeDocument/2006/relationships/slideLayout" Target="../slideLayouts/slideLayout139.xml"/><Relationship Id="rId34" Type="http://schemas.openxmlformats.org/officeDocument/2006/relationships/slideLayout" Target="../slideLayouts/slideLayout152.xml"/><Relationship Id="rId42" Type="http://schemas.openxmlformats.org/officeDocument/2006/relationships/slideLayout" Target="../slideLayouts/slideLayout160.xml"/><Relationship Id="rId47" Type="http://schemas.openxmlformats.org/officeDocument/2006/relationships/slideLayout" Target="../slideLayouts/slideLayout165.xml"/><Relationship Id="rId50" Type="http://schemas.openxmlformats.org/officeDocument/2006/relationships/slideLayout" Target="../slideLayouts/slideLayout168.xml"/><Relationship Id="rId55" Type="http://schemas.openxmlformats.org/officeDocument/2006/relationships/slideLayout" Target="../slideLayouts/slideLayout173.xml"/><Relationship Id="rId63" Type="http://schemas.openxmlformats.org/officeDocument/2006/relationships/slideLayout" Target="../slideLayouts/slideLayout181.xml"/><Relationship Id="rId68" Type="http://schemas.openxmlformats.org/officeDocument/2006/relationships/vmlDrawing" Target="../drawings/vmlDrawing67.vml"/><Relationship Id="rId7" Type="http://schemas.openxmlformats.org/officeDocument/2006/relationships/slideLayout" Target="../slideLayouts/slideLayout125.xml"/><Relationship Id="rId71" Type="http://schemas.openxmlformats.org/officeDocument/2006/relationships/image" Target="../media/image6.emf"/><Relationship Id="rId2" Type="http://schemas.openxmlformats.org/officeDocument/2006/relationships/slideLayout" Target="../slideLayouts/slideLayout120.xml"/><Relationship Id="rId16" Type="http://schemas.openxmlformats.org/officeDocument/2006/relationships/slideLayout" Target="../slideLayouts/slideLayout134.xml"/><Relationship Id="rId29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19.xml"/><Relationship Id="rId6" Type="http://schemas.openxmlformats.org/officeDocument/2006/relationships/slideLayout" Target="../slideLayouts/slideLayout124.xml"/><Relationship Id="rId11" Type="http://schemas.openxmlformats.org/officeDocument/2006/relationships/slideLayout" Target="../slideLayouts/slideLayout129.xml"/><Relationship Id="rId24" Type="http://schemas.openxmlformats.org/officeDocument/2006/relationships/slideLayout" Target="../slideLayouts/slideLayout142.xml"/><Relationship Id="rId32" Type="http://schemas.openxmlformats.org/officeDocument/2006/relationships/slideLayout" Target="../slideLayouts/slideLayout150.xml"/><Relationship Id="rId37" Type="http://schemas.openxmlformats.org/officeDocument/2006/relationships/slideLayout" Target="../slideLayouts/slideLayout155.xml"/><Relationship Id="rId40" Type="http://schemas.openxmlformats.org/officeDocument/2006/relationships/slideLayout" Target="../slideLayouts/slideLayout158.xml"/><Relationship Id="rId45" Type="http://schemas.openxmlformats.org/officeDocument/2006/relationships/slideLayout" Target="../slideLayouts/slideLayout163.xml"/><Relationship Id="rId53" Type="http://schemas.openxmlformats.org/officeDocument/2006/relationships/slideLayout" Target="../slideLayouts/slideLayout171.xml"/><Relationship Id="rId58" Type="http://schemas.openxmlformats.org/officeDocument/2006/relationships/slideLayout" Target="../slideLayouts/slideLayout176.xml"/><Relationship Id="rId66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23.xml"/><Relationship Id="rId15" Type="http://schemas.openxmlformats.org/officeDocument/2006/relationships/slideLayout" Target="../slideLayouts/slideLayout133.xml"/><Relationship Id="rId23" Type="http://schemas.openxmlformats.org/officeDocument/2006/relationships/slideLayout" Target="../slideLayouts/slideLayout141.xml"/><Relationship Id="rId28" Type="http://schemas.openxmlformats.org/officeDocument/2006/relationships/slideLayout" Target="../slideLayouts/slideLayout146.xml"/><Relationship Id="rId36" Type="http://schemas.openxmlformats.org/officeDocument/2006/relationships/slideLayout" Target="../slideLayouts/slideLayout154.xml"/><Relationship Id="rId49" Type="http://schemas.openxmlformats.org/officeDocument/2006/relationships/slideLayout" Target="../slideLayouts/slideLayout167.xml"/><Relationship Id="rId57" Type="http://schemas.openxmlformats.org/officeDocument/2006/relationships/slideLayout" Target="../slideLayouts/slideLayout175.xml"/><Relationship Id="rId61" Type="http://schemas.openxmlformats.org/officeDocument/2006/relationships/slideLayout" Target="../slideLayouts/slideLayout179.xml"/><Relationship Id="rId10" Type="http://schemas.openxmlformats.org/officeDocument/2006/relationships/slideLayout" Target="../slideLayouts/slideLayout128.xml"/><Relationship Id="rId19" Type="http://schemas.openxmlformats.org/officeDocument/2006/relationships/slideLayout" Target="../slideLayouts/slideLayout137.xml"/><Relationship Id="rId31" Type="http://schemas.openxmlformats.org/officeDocument/2006/relationships/slideLayout" Target="../slideLayouts/slideLayout149.xml"/><Relationship Id="rId44" Type="http://schemas.openxmlformats.org/officeDocument/2006/relationships/slideLayout" Target="../slideLayouts/slideLayout162.xml"/><Relationship Id="rId52" Type="http://schemas.openxmlformats.org/officeDocument/2006/relationships/slideLayout" Target="../slideLayouts/slideLayout170.xml"/><Relationship Id="rId60" Type="http://schemas.openxmlformats.org/officeDocument/2006/relationships/slideLayout" Target="../slideLayouts/slideLayout178.xml"/><Relationship Id="rId65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22.xml"/><Relationship Id="rId9" Type="http://schemas.openxmlformats.org/officeDocument/2006/relationships/slideLayout" Target="../slideLayouts/slideLayout127.xml"/><Relationship Id="rId14" Type="http://schemas.openxmlformats.org/officeDocument/2006/relationships/slideLayout" Target="../slideLayouts/slideLayout132.xml"/><Relationship Id="rId22" Type="http://schemas.openxmlformats.org/officeDocument/2006/relationships/slideLayout" Target="../slideLayouts/slideLayout140.xml"/><Relationship Id="rId27" Type="http://schemas.openxmlformats.org/officeDocument/2006/relationships/slideLayout" Target="../slideLayouts/slideLayout145.xml"/><Relationship Id="rId30" Type="http://schemas.openxmlformats.org/officeDocument/2006/relationships/slideLayout" Target="../slideLayouts/slideLayout148.xml"/><Relationship Id="rId35" Type="http://schemas.openxmlformats.org/officeDocument/2006/relationships/slideLayout" Target="../slideLayouts/slideLayout153.xml"/><Relationship Id="rId43" Type="http://schemas.openxmlformats.org/officeDocument/2006/relationships/slideLayout" Target="../slideLayouts/slideLayout161.xml"/><Relationship Id="rId48" Type="http://schemas.openxmlformats.org/officeDocument/2006/relationships/slideLayout" Target="../slideLayouts/slideLayout166.xml"/><Relationship Id="rId56" Type="http://schemas.openxmlformats.org/officeDocument/2006/relationships/slideLayout" Target="../slideLayouts/slideLayout174.xml"/><Relationship Id="rId64" Type="http://schemas.openxmlformats.org/officeDocument/2006/relationships/slideLayout" Target="../slideLayouts/slideLayout182.xml"/><Relationship Id="rId69" Type="http://schemas.openxmlformats.org/officeDocument/2006/relationships/tags" Target="../tags/tag119.xml"/><Relationship Id="rId8" Type="http://schemas.openxmlformats.org/officeDocument/2006/relationships/slideLayout" Target="../slideLayouts/slideLayout126.xml"/><Relationship Id="rId51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21.xml"/><Relationship Id="rId12" Type="http://schemas.openxmlformats.org/officeDocument/2006/relationships/slideLayout" Target="../slideLayouts/slideLayout130.xml"/><Relationship Id="rId17" Type="http://schemas.openxmlformats.org/officeDocument/2006/relationships/slideLayout" Target="../slideLayouts/slideLayout135.xml"/><Relationship Id="rId25" Type="http://schemas.openxmlformats.org/officeDocument/2006/relationships/slideLayout" Target="../slideLayouts/slideLayout143.xml"/><Relationship Id="rId33" Type="http://schemas.openxmlformats.org/officeDocument/2006/relationships/slideLayout" Target="../slideLayouts/slideLayout151.xml"/><Relationship Id="rId38" Type="http://schemas.openxmlformats.org/officeDocument/2006/relationships/slideLayout" Target="../slideLayouts/slideLayout156.xml"/><Relationship Id="rId46" Type="http://schemas.openxmlformats.org/officeDocument/2006/relationships/slideLayout" Target="../slideLayouts/slideLayout164.xml"/><Relationship Id="rId59" Type="http://schemas.openxmlformats.org/officeDocument/2006/relationships/slideLayout" Target="../slideLayouts/slideLayout177.xml"/><Relationship Id="rId67" Type="http://schemas.openxmlformats.org/officeDocument/2006/relationships/theme" Target="../theme/theme6.xml"/><Relationship Id="rId20" Type="http://schemas.openxmlformats.org/officeDocument/2006/relationships/slideLayout" Target="../slideLayouts/slideLayout138.xml"/><Relationship Id="rId41" Type="http://schemas.openxmlformats.org/officeDocument/2006/relationships/slideLayout" Target="../slideLayouts/slideLayout159.xml"/><Relationship Id="rId54" Type="http://schemas.openxmlformats.org/officeDocument/2006/relationships/slideLayout" Target="../slideLayouts/slideLayout172.xml"/><Relationship Id="rId62" Type="http://schemas.openxmlformats.org/officeDocument/2006/relationships/slideLayout" Target="../slideLayouts/slideLayout180.xml"/><Relationship Id="rId70" Type="http://schemas.openxmlformats.org/officeDocument/2006/relationships/oleObject" Target="../embeddings/oleObject6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slideLayout" Target="../slideLayouts/slideLayout197.xml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slideLayout" Target="../slideLayouts/slideLayout196.xml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186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slideLayout" Target="../slideLayouts/slideLayout19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200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0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215.xml"/><Relationship Id="rId7" Type="http://schemas.openxmlformats.org/officeDocument/2006/relationships/slideLayout" Target="../slideLayouts/slideLayout219.xml"/><Relationship Id="rId12" Type="http://schemas.openxmlformats.org/officeDocument/2006/relationships/slideLayout" Target="../slideLayouts/slideLayout224.xml"/><Relationship Id="rId2" Type="http://schemas.openxmlformats.org/officeDocument/2006/relationships/slideLayout" Target="../slideLayouts/slideLayout214.xml"/><Relationship Id="rId1" Type="http://schemas.openxmlformats.org/officeDocument/2006/relationships/slideLayout" Target="../slideLayouts/slideLayout213.xml"/><Relationship Id="rId6" Type="http://schemas.openxmlformats.org/officeDocument/2006/relationships/slideLayout" Target="../slideLayouts/slideLayout218.xml"/><Relationship Id="rId11" Type="http://schemas.openxmlformats.org/officeDocument/2006/relationships/slideLayout" Target="../slideLayouts/slideLayout223.xml"/><Relationship Id="rId5" Type="http://schemas.openxmlformats.org/officeDocument/2006/relationships/slideLayout" Target="../slideLayouts/slideLayout217.xml"/><Relationship Id="rId10" Type="http://schemas.openxmlformats.org/officeDocument/2006/relationships/slideLayout" Target="../slideLayouts/slideLayout222.xml"/><Relationship Id="rId4" Type="http://schemas.openxmlformats.org/officeDocument/2006/relationships/slideLayout" Target="../slideLayouts/slideLayout216.xml"/><Relationship Id="rId9" Type="http://schemas.openxmlformats.org/officeDocument/2006/relationships/slideLayout" Target="../slideLayouts/slideLayout221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Прямая соединительная линия 22"/>
          <p:cNvCxnSpPr/>
          <p:nvPr userDrawn="1"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 userDrawn="1"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/>
          <p:cNvCxnSpPr/>
          <p:nvPr userDrawn="1"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Образец текста</a:t>
            </a:r>
          </a:p>
          <a:p>
            <a:pPr lvl="1"/>
            <a:r>
              <a:rPr lang="en-US"/>
              <a:t>Второй уровень</a:t>
            </a:r>
          </a:p>
          <a:p>
            <a:pPr lvl="2"/>
            <a:r>
              <a:rPr lang="en-US"/>
              <a:t>Третий уровень</a:t>
            </a:r>
          </a:p>
          <a:p>
            <a:pPr lvl="3"/>
            <a:r>
              <a:rPr lang="en-US"/>
              <a:t>Четвертый уровень</a:t>
            </a:r>
          </a:p>
          <a:p>
            <a:pPr lvl="4"/>
            <a:r>
              <a:rPr lang="en-US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40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8B27E2A-11A8-4760-AB90-6EB2A6DEEB7C}" type="datetime1">
              <a:rPr lang="ru-RU" smtClean="0"/>
              <a:t>21.05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40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40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Изображение 6" descr="logo_fs_rzn.jpe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53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307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469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9" r:id="rId1"/>
    <p:sldLayoutId id="2147484430" r:id="rId2"/>
    <p:sldLayoutId id="2147484431" r:id="rId3"/>
    <p:sldLayoutId id="2147484432" r:id="rId4"/>
    <p:sldLayoutId id="2147484433" r:id="rId5"/>
    <p:sldLayoutId id="2147484434" r:id="rId6"/>
    <p:sldLayoutId id="2147484435" r:id="rId7"/>
    <p:sldLayoutId id="2147484436" r:id="rId8"/>
    <p:sldLayoutId id="2147484437" r:id="rId9"/>
    <p:sldLayoutId id="2147484438" r:id="rId10"/>
    <p:sldLayoutId id="2147484439" r:id="rId11"/>
    <p:sldLayoutId id="214748444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42471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5" r:id="rId1"/>
    <p:sldLayoutId id="2147484456" r:id="rId2"/>
    <p:sldLayoutId id="2147484457" r:id="rId3"/>
    <p:sldLayoutId id="2147484458" r:id="rId4"/>
    <p:sldLayoutId id="2147484459" r:id="rId5"/>
    <p:sldLayoutId id="2147484460" r:id="rId6"/>
    <p:sldLayoutId id="2147484461" r:id="rId7"/>
    <p:sldLayoutId id="2147484462" r:id="rId8"/>
    <p:sldLayoutId id="2147484463" r:id="rId9"/>
    <p:sldLayoutId id="2147484464" r:id="rId10"/>
    <p:sldLayoutId id="2147484465" r:id="rId11"/>
    <p:sldLayoutId id="2147484466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6814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1" r:id="rId1"/>
    <p:sldLayoutId id="2147484482" r:id="rId2"/>
    <p:sldLayoutId id="2147484483" r:id="rId3"/>
    <p:sldLayoutId id="2147484484" r:id="rId4"/>
    <p:sldLayoutId id="2147484485" r:id="rId5"/>
    <p:sldLayoutId id="2147484486" r:id="rId6"/>
    <p:sldLayoutId id="2147484487" r:id="rId7"/>
    <p:sldLayoutId id="2147484488" r:id="rId8"/>
    <p:sldLayoutId id="2147484489" r:id="rId9"/>
    <p:sldLayoutId id="2147484490" r:id="rId10"/>
    <p:sldLayoutId id="2147484491" r:id="rId11"/>
    <p:sldLayoutId id="2147484492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9075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4" r:id="rId1"/>
    <p:sldLayoutId id="2147484495" r:id="rId2"/>
    <p:sldLayoutId id="2147484496" r:id="rId3"/>
    <p:sldLayoutId id="2147484497" r:id="rId4"/>
    <p:sldLayoutId id="2147484498" r:id="rId5"/>
    <p:sldLayoutId id="2147484499" r:id="rId6"/>
    <p:sldLayoutId id="2147484500" r:id="rId7"/>
    <p:sldLayoutId id="2147484501" r:id="rId8"/>
    <p:sldLayoutId id="2147484502" r:id="rId9"/>
    <p:sldLayoutId id="2147484503" r:id="rId10"/>
    <p:sldLayoutId id="2147484504" r:id="rId11"/>
    <p:sldLayoutId id="2147484505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243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7" r:id="rId1"/>
    <p:sldLayoutId id="2147484508" r:id="rId2"/>
    <p:sldLayoutId id="2147484509" r:id="rId3"/>
    <p:sldLayoutId id="2147484510" r:id="rId4"/>
    <p:sldLayoutId id="2147484511" r:id="rId5"/>
    <p:sldLayoutId id="2147484512" r:id="rId6"/>
    <p:sldLayoutId id="2147484513" r:id="rId7"/>
    <p:sldLayoutId id="2147484514" r:id="rId8"/>
    <p:sldLayoutId id="2147484515" r:id="rId9"/>
    <p:sldLayoutId id="2147484516" r:id="rId10"/>
    <p:sldLayoutId id="2147484517" r:id="rId11"/>
    <p:sldLayoutId id="2147484518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29938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0" r:id="rId1"/>
    <p:sldLayoutId id="2147484521" r:id="rId2"/>
    <p:sldLayoutId id="2147484522" r:id="rId3"/>
    <p:sldLayoutId id="2147484523" r:id="rId4"/>
    <p:sldLayoutId id="2147484524" r:id="rId5"/>
    <p:sldLayoutId id="2147484525" r:id="rId6"/>
    <p:sldLayoutId id="2147484526" r:id="rId7"/>
    <p:sldLayoutId id="2147484527" r:id="rId8"/>
    <p:sldLayoutId id="2147484528" r:id="rId9"/>
    <p:sldLayoutId id="2147484529" r:id="rId10"/>
    <p:sldLayoutId id="2147484530" r:id="rId11"/>
    <p:sldLayoutId id="2147484531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9598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6" r:id="rId1"/>
    <p:sldLayoutId id="2147484547" r:id="rId2"/>
    <p:sldLayoutId id="2147484548" r:id="rId3"/>
    <p:sldLayoutId id="2147484549" r:id="rId4"/>
    <p:sldLayoutId id="2147484550" r:id="rId5"/>
    <p:sldLayoutId id="2147484551" r:id="rId6"/>
    <p:sldLayoutId id="2147484552" r:id="rId7"/>
    <p:sldLayoutId id="2147484553" r:id="rId8"/>
    <p:sldLayoutId id="2147484554" r:id="rId9"/>
    <p:sldLayoutId id="2147484555" r:id="rId10"/>
    <p:sldLayoutId id="2147484556" r:id="rId11"/>
    <p:sldLayoutId id="2147484557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298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9" r:id="rId1"/>
    <p:sldLayoutId id="2147484560" r:id="rId2"/>
    <p:sldLayoutId id="2147484561" r:id="rId3"/>
    <p:sldLayoutId id="2147484562" r:id="rId4"/>
    <p:sldLayoutId id="2147484563" r:id="rId5"/>
    <p:sldLayoutId id="2147484564" r:id="rId6"/>
    <p:sldLayoutId id="2147484565" r:id="rId7"/>
    <p:sldLayoutId id="2147484566" r:id="rId8"/>
    <p:sldLayoutId id="2147484567" r:id="rId9"/>
    <p:sldLayoutId id="2147484568" r:id="rId10"/>
    <p:sldLayoutId id="2147484569" r:id="rId11"/>
    <p:sldLayoutId id="214748457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6786776-A8FB-4D89-A0A2-C2667B38AE2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0926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72" r:id="rId1"/>
    <p:sldLayoutId id="2147484573" r:id="rId2"/>
    <p:sldLayoutId id="2147484574" r:id="rId3"/>
    <p:sldLayoutId id="2147484575" r:id="rId4"/>
    <p:sldLayoutId id="2147484576" r:id="rId5"/>
    <p:sldLayoutId id="2147484577" r:id="rId6"/>
    <p:sldLayoutId id="2147484578" r:id="rId7"/>
    <p:sldLayoutId id="2147484579" r:id="rId8"/>
    <p:sldLayoutId id="2147484580" r:id="rId9"/>
    <p:sldLayoutId id="2147484581" r:id="rId10"/>
    <p:sldLayoutId id="2147484582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03200"/>
            <a:ext cx="8229600" cy="633413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chemeClr val="bg2">
                <a:alpha val="50000"/>
              </a:scheme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628779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18438" name="Rectangle 6"/>
          <p:cNvSpPr>
            <a:spLocks noChangeArrowheads="1"/>
          </p:cNvSpPr>
          <p:nvPr/>
        </p:nvSpPr>
        <p:spPr bwMode="auto">
          <a:xfrm>
            <a:off x="8135938" y="6526267"/>
            <a:ext cx="1008062" cy="331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b="1">
                <a:solidFill>
                  <a:srgbClr val="FFFFFF"/>
                </a:solidFill>
              </a:rPr>
              <a:t>Слайд: </a:t>
            </a:r>
            <a:fld id="{A6E4776D-4857-40BF-B1D6-C403936692D1}" type="slidenum">
              <a:rPr lang="en-US" sz="1200" b="1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z="1200" b="1">
              <a:solidFill>
                <a:srgbClr val="FFFFFF"/>
              </a:solidFill>
            </a:endParaRPr>
          </a:p>
        </p:txBody>
      </p:sp>
      <p:sp>
        <p:nvSpPr>
          <p:cNvPr id="1029" name="Rectangle 5"/>
          <p:cNvSpPr>
            <a:spLocks noChangeArrowheads="1"/>
          </p:cNvSpPr>
          <p:nvPr/>
        </p:nvSpPr>
        <p:spPr bwMode="auto">
          <a:xfrm>
            <a:off x="361977" y="6248454"/>
            <a:ext cx="2087563" cy="333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smtClean="0">
                <a:solidFill>
                  <a:srgbClr val="FFFFFF"/>
                </a:solidFill>
              </a:rPr>
              <a:t>www.rlsnet.ru</a:t>
            </a:r>
            <a:endParaRPr lang="ru-RU" sz="120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72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</p:sldLayoutIdLst>
  <p:transition/>
  <p:txStyles>
    <p:titleStyle>
      <a:lvl1pPr algn="l" rtl="0" eaLnBrk="0" fontAlgn="base" hangingPunct="0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2pPr>
      <a:lvl3pPr algn="l" rtl="0" eaLnBrk="0" fontAlgn="base" hangingPunct="0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3pPr>
      <a:lvl4pPr algn="l" rtl="0" eaLnBrk="0" fontAlgn="base" hangingPunct="0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4pPr>
      <a:lvl5pPr algn="l" rtl="0" eaLnBrk="0" fontAlgn="base" hangingPunct="0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5pPr>
      <a:lvl6pPr marL="457200" algn="l" rtl="0" fontAlgn="base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6pPr>
      <a:lvl7pPr marL="914400" algn="l" rtl="0" fontAlgn="base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7pPr>
      <a:lvl8pPr marL="1371600" algn="l" rtl="0" fontAlgn="base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8pPr>
      <a:lvl9pPr marL="1828800" algn="l" rtl="0" fontAlgn="base">
        <a:lnSpc>
          <a:spcPct val="70000"/>
        </a:lnSpc>
        <a:spcBef>
          <a:spcPct val="0"/>
        </a:spcBef>
        <a:spcAft>
          <a:spcPct val="0"/>
        </a:spcAft>
        <a:defRPr sz="3200" b="1">
          <a:solidFill>
            <a:schemeClr val="bg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Wingdings" pitchFamily="2" charset="2"/>
        <a:buChar char="§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hlink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62A72A30-BC5D-467D-8373-96A3CC1BBA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9144000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12" descr="gerb2.png">
            <a:extLst>
              <a:ext uri="{FF2B5EF4-FFF2-40B4-BE49-F238E27FC236}">
                <a16:creationId xmlns:a16="http://schemas.microsoft.com/office/drawing/2014/main" id="{9D8E8366-8E8C-49D2-93D8-9D3F7942E66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34658" y="0"/>
            <a:ext cx="821531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802566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4" r:id="rId1"/>
    <p:sldLayoutId id="2147483905" r:id="rId2"/>
    <p:sldLayoutId id="2147483906" r:id="rId3"/>
    <p:sldLayoutId id="2147483907" r:id="rId4"/>
    <p:sldLayoutId id="2147483908" r:id="rId5"/>
    <p:sldLayoutId id="2147483909" r:id="rId6"/>
    <p:sldLayoutId id="2147483910" r:id="rId7"/>
    <p:sldLayoutId id="2147483911" r:id="rId8"/>
    <p:sldLayoutId id="2147483912" r:id="rId9"/>
    <p:sldLayoutId id="2147483913" r:id="rId10"/>
    <p:sldLayoutId id="2147483914" r:id="rId11"/>
    <p:sldLayoutId id="2147483915" r:id="rId12"/>
    <p:sldLayoutId id="2147483916" r:id="rId13"/>
    <p:sldLayoutId id="2147483917" r:id="rId14"/>
    <p:sldLayoutId id="2147483918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4">
            <a:extLst>
              <a:ext uri="{FF2B5EF4-FFF2-40B4-BE49-F238E27FC236}">
                <a16:creationId xmlns:a16="http://schemas.microsoft.com/office/drawing/2014/main" id="{62A72A30-BC5D-467D-8373-96A3CC1BBAA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0" y="0"/>
            <a:ext cx="9144000" cy="1412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12" descr="gerb2.png">
            <a:extLst>
              <a:ext uri="{FF2B5EF4-FFF2-40B4-BE49-F238E27FC236}">
                <a16:creationId xmlns:a16="http://schemas.microsoft.com/office/drawing/2014/main" id="{9D8E8366-8E8C-49D2-93D8-9D3F7942E66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34645" y="0"/>
            <a:ext cx="821531" cy="1276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24873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  <p:sldLayoutId id="2147483937" r:id="rId2"/>
    <p:sldLayoutId id="2147483938" r:id="rId3"/>
    <p:sldLayoutId id="2147483939" r:id="rId4"/>
    <p:sldLayoutId id="2147483940" r:id="rId5"/>
    <p:sldLayoutId id="2147483941" r:id="rId6"/>
    <p:sldLayoutId id="2147483942" r:id="rId7"/>
    <p:sldLayoutId id="2147483943" r:id="rId8"/>
    <p:sldLayoutId id="2147483944" r:id="rId9"/>
    <p:sldLayoutId id="2147483945" r:id="rId10"/>
    <p:sldLayoutId id="2147483946" r:id="rId11"/>
    <p:sldLayoutId id="2147483947" r:id="rId12"/>
    <p:sldLayoutId id="2147483948" r:id="rId13"/>
    <p:sldLayoutId id="2147483949" r:id="rId14"/>
    <p:sldLayoutId id="2147483950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2786690753"/>
              </p:ext>
            </p:extLst>
          </p:nvPr>
        </p:nvGraphicFramePr>
        <p:xfrm>
          <a:off x="1192" y="1593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7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593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2" y="622805"/>
            <a:ext cx="820001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2" y="1825625"/>
            <a:ext cx="820001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6025971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8" r:id="rId1"/>
    <p:sldLayoutId id="2147483969" r:id="rId2"/>
    <p:sldLayoutId id="2147483970" r:id="rId3"/>
    <p:sldLayoutId id="2147483971" r:id="rId4"/>
    <p:sldLayoutId id="2147483972" r:id="rId5"/>
    <p:sldLayoutId id="2147483973" r:id="rId6"/>
    <p:sldLayoutId id="2147483974" r:id="rId7"/>
    <p:sldLayoutId id="2147483975" r:id="rId8"/>
    <p:sldLayoutId id="2147483976" r:id="rId9"/>
    <p:sldLayoutId id="2147483977" r:id="rId10"/>
    <p:sldLayoutId id="2147483978" r:id="rId11"/>
    <p:sldLayoutId id="2147483979" r:id="rId12"/>
    <p:sldLayoutId id="2147483980" r:id="rId13"/>
    <p:sldLayoutId id="2147483981" r:id="rId14"/>
    <p:sldLayoutId id="2147483982" r:id="rId15"/>
    <p:sldLayoutId id="2147483983" r:id="rId16"/>
    <p:sldLayoutId id="2147483984" r:id="rId17"/>
    <p:sldLayoutId id="2147483985" r:id="rId18"/>
    <p:sldLayoutId id="2147483986" r:id="rId19"/>
    <p:sldLayoutId id="2147483987" r:id="rId20"/>
    <p:sldLayoutId id="2147483988" r:id="rId21"/>
    <p:sldLayoutId id="2147483989" r:id="rId22"/>
    <p:sldLayoutId id="2147483990" r:id="rId23"/>
    <p:sldLayoutId id="2147483991" r:id="rId24"/>
    <p:sldLayoutId id="2147483992" r:id="rId25"/>
    <p:sldLayoutId id="2147483993" r:id="rId26"/>
    <p:sldLayoutId id="2147483994" r:id="rId27"/>
    <p:sldLayoutId id="2147483995" r:id="rId28"/>
    <p:sldLayoutId id="2147483996" r:id="rId29"/>
    <p:sldLayoutId id="2147483997" r:id="rId30"/>
    <p:sldLayoutId id="2147483998" r:id="rId31"/>
    <p:sldLayoutId id="2147483999" r:id="rId32"/>
    <p:sldLayoutId id="2147484000" r:id="rId33"/>
    <p:sldLayoutId id="2147484001" r:id="rId34"/>
    <p:sldLayoutId id="2147484002" r:id="rId35"/>
    <p:sldLayoutId id="2147484003" r:id="rId36"/>
    <p:sldLayoutId id="2147484004" r:id="rId37"/>
    <p:sldLayoutId id="2147484005" r:id="rId38"/>
    <p:sldLayoutId id="2147484006" r:id="rId39"/>
    <p:sldLayoutId id="2147484007" r:id="rId40"/>
    <p:sldLayoutId id="2147484008" r:id="rId41"/>
    <p:sldLayoutId id="2147484009" r:id="rId42"/>
    <p:sldLayoutId id="2147484010" r:id="rId43"/>
    <p:sldLayoutId id="2147484011" r:id="rId44"/>
    <p:sldLayoutId id="2147484012" r:id="rId45"/>
    <p:sldLayoutId id="2147484013" r:id="rId46"/>
    <p:sldLayoutId id="2147484014" r:id="rId47"/>
    <p:sldLayoutId id="2147484015" r:id="rId48"/>
    <p:sldLayoutId id="2147484016" r:id="rId49"/>
    <p:sldLayoutId id="2147484017" r:id="rId50"/>
    <p:sldLayoutId id="2147484018" r:id="rId51"/>
    <p:sldLayoutId id="2147484019" r:id="rId52"/>
    <p:sldLayoutId id="2147484020" r:id="rId53"/>
    <p:sldLayoutId id="2147484021" r:id="rId54"/>
    <p:sldLayoutId id="2147484022" r:id="rId55"/>
    <p:sldLayoutId id="2147484023" r:id="rId56"/>
    <p:sldLayoutId id="2147484024" r:id="rId57"/>
    <p:sldLayoutId id="2147484025" r:id="rId58"/>
    <p:sldLayoutId id="2147484026" r:id="rId59"/>
    <p:sldLayoutId id="2147484027" r:id="rId60"/>
    <p:sldLayoutId id="2147484028" r:id="rId61"/>
    <p:sldLayoutId id="2147484029" r:id="rId62"/>
    <p:sldLayoutId id="2147484030" r:id="rId63"/>
    <p:sldLayoutId id="2147484031" r:id="rId64"/>
    <p:sldLayoutId id="2147484032" r:id="rId65"/>
    <p:sldLayoutId id="2147484033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1521799441"/>
              </p:ext>
            </p:extLst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1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6405036"/>
            <a:ext cx="1111538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PT Sans Caption" panose="020B0603020203020204" charset="0"/>
                <a:sym typeface="PT Sans Caption" panose="020B060302020302020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8375904" y="6405036"/>
            <a:ext cx="28575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srgbClr val="FFFFFF">
                    <a:lumMod val="50000"/>
                  </a:srgbClr>
                </a:solidFill>
                <a:sym typeface="PT Sans Caption" panose="020B060302020302020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srgbClr val="FFFFFF">
                  <a:lumMod val="50000"/>
                </a:srgbClr>
              </a:solidFill>
              <a:sym typeface="PT Sans Caption" panose="020B060302020302020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472500" y="622801"/>
            <a:ext cx="8200013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472500" y="1825625"/>
            <a:ext cx="820001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4184502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5" r:id="rId1"/>
    <p:sldLayoutId id="2147484036" r:id="rId2"/>
    <p:sldLayoutId id="2147484037" r:id="rId3"/>
    <p:sldLayoutId id="2147484038" r:id="rId4"/>
    <p:sldLayoutId id="2147484039" r:id="rId5"/>
    <p:sldLayoutId id="2147484040" r:id="rId6"/>
    <p:sldLayoutId id="2147484041" r:id="rId7"/>
    <p:sldLayoutId id="2147484042" r:id="rId8"/>
    <p:sldLayoutId id="2147484043" r:id="rId9"/>
    <p:sldLayoutId id="2147484044" r:id="rId10"/>
    <p:sldLayoutId id="2147484045" r:id="rId11"/>
    <p:sldLayoutId id="2147484046" r:id="rId12"/>
    <p:sldLayoutId id="2147484047" r:id="rId13"/>
    <p:sldLayoutId id="2147484048" r:id="rId14"/>
    <p:sldLayoutId id="2147484049" r:id="rId15"/>
    <p:sldLayoutId id="2147484050" r:id="rId16"/>
    <p:sldLayoutId id="2147484051" r:id="rId17"/>
    <p:sldLayoutId id="2147484052" r:id="rId18"/>
    <p:sldLayoutId id="2147484053" r:id="rId19"/>
    <p:sldLayoutId id="2147484054" r:id="rId20"/>
    <p:sldLayoutId id="2147484055" r:id="rId21"/>
    <p:sldLayoutId id="2147484056" r:id="rId22"/>
    <p:sldLayoutId id="2147484057" r:id="rId23"/>
    <p:sldLayoutId id="2147484058" r:id="rId24"/>
    <p:sldLayoutId id="2147484059" r:id="rId25"/>
    <p:sldLayoutId id="2147484060" r:id="rId26"/>
    <p:sldLayoutId id="2147484061" r:id="rId27"/>
    <p:sldLayoutId id="2147484062" r:id="rId28"/>
    <p:sldLayoutId id="2147484063" r:id="rId29"/>
    <p:sldLayoutId id="2147484064" r:id="rId30"/>
    <p:sldLayoutId id="2147484065" r:id="rId31"/>
    <p:sldLayoutId id="2147484066" r:id="rId32"/>
    <p:sldLayoutId id="2147484067" r:id="rId33"/>
    <p:sldLayoutId id="2147484068" r:id="rId34"/>
    <p:sldLayoutId id="2147484069" r:id="rId35"/>
    <p:sldLayoutId id="2147484070" r:id="rId36"/>
    <p:sldLayoutId id="2147484071" r:id="rId37"/>
    <p:sldLayoutId id="2147484072" r:id="rId38"/>
    <p:sldLayoutId id="2147484073" r:id="rId39"/>
    <p:sldLayoutId id="2147484074" r:id="rId40"/>
    <p:sldLayoutId id="2147484075" r:id="rId41"/>
    <p:sldLayoutId id="2147484076" r:id="rId42"/>
    <p:sldLayoutId id="2147484077" r:id="rId43"/>
    <p:sldLayoutId id="2147484078" r:id="rId44"/>
    <p:sldLayoutId id="2147484079" r:id="rId45"/>
    <p:sldLayoutId id="2147484080" r:id="rId46"/>
    <p:sldLayoutId id="2147484081" r:id="rId47"/>
    <p:sldLayoutId id="2147484082" r:id="rId48"/>
    <p:sldLayoutId id="2147484083" r:id="rId49"/>
    <p:sldLayoutId id="2147484084" r:id="rId50"/>
    <p:sldLayoutId id="2147484085" r:id="rId51"/>
    <p:sldLayoutId id="2147484086" r:id="rId52"/>
    <p:sldLayoutId id="2147484087" r:id="rId53"/>
    <p:sldLayoutId id="2147484088" r:id="rId54"/>
    <p:sldLayoutId id="2147484089" r:id="rId55"/>
    <p:sldLayoutId id="2147484090" r:id="rId56"/>
    <p:sldLayoutId id="2147484091" r:id="rId57"/>
    <p:sldLayoutId id="2147484092" r:id="rId58"/>
    <p:sldLayoutId id="2147484093" r:id="rId59"/>
    <p:sldLayoutId id="2147484094" r:id="rId60"/>
    <p:sldLayoutId id="2147484095" r:id="rId61"/>
    <p:sldLayoutId id="2147484096" r:id="rId62"/>
    <p:sldLayoutId id="2147484097" r:id="rId63"/>
    <p:sldLayoutId id="2147484098" r:id="rId64"/>
    <p:sldLayoutId id="2147484099" r:id="rId65"/>
    <p:sldLayoutId id="2147484100" r:id="rId66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rgbClr val="595959"/>
          </a:solidFill>
          <a:latin typeface="PT Sans Caption" panose="020B0603020203020204" charset="0"/>
          <a:ea typeface="+mj-ea"/>
          <a:cs typeface="+mj-cs"/>
          <a:sym typeface="PT Sans Caption" panose="020B060302020302020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•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rgbClr val="595959"/>
        </a:buClr>
        <a:buFont typeface="Trebuchet MS" panose="020B0603020202020204" pitchFamily="34" charset="0"/>
        <a:buChar char="–"/>
        <a:defRPr lang="en-US" sz="12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kern="120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rgbClr val="595959"/>
        </a:buClr>
        <a:buFont typeface="Arial" panose="020B0604020202020204" pitchFamily="34" charset="0"/>
        <a:buChar char="​"/>
        <a:defRPr lang="en-US" sz="1600" b="1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rgbClr val="595959"/>
        </a:buClr>
        <a:buFont typeface="Arial" panose="020B0604020202020204" pitchFamily="34" charset="0"/>
        <a:buChar char="•"/>
        <a:defRPr lang="en-US" sz="1600" kern="120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4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Clr>
          <a:srgbClr val="595959"/>
        </a:buClr>
        <a:buFont typeface="Arial" panose="020B0604020202020204" pitchFamily="34" charset="0"/>
        <a:buChar char="​"/>
        <a:defRPr lang="en-US" sz="5400" kern="1200" baseline="0" smtClean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rgbClr val="595959"/>
        </a:buClr>
        <a:buFont typeface="Arial" panose="020B0604020202020204" pitchFamily="34" charset="0"/>
        <a:buChar char="​"/>
        <a:defRPr lang="en-US" sz="2400" kern="1200" baseline="0" dirty="0">
          <a:solidFill>
            <a:srgbClr val="595959"/>
          </a:solidFill>
          <a:latin typeface="PT Sans Caption" panose="020B0603020203020204" charset="0"/>
          <a:ea typeface="+mn-ea"/>
          <a:cs typeface="+mn-cs"/>
          <a:sym typeface="PT Sans Caption" panose="020B060302020302020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 userDrawn="1"/>
        </p:nvGrpSpPr>
        <p:grpSpPr>
          <a:xfrm>
            <a:off x="2369856" y="901700"/>
            <a:ext cx="4404289" cy="5435104"/>
            <a:chOff x="6099661" y="4227602"/>
            <a:chExt cx="276241" cy="255671"/>
          </a:xfrm>
        </p:grpSpPr>
        <p:sp>
          <p:nvSpPr>
            <p:cNvPr id="26" name="Плюс 25"/>
            <p:cNvSpPr/>
            <p:nvPr userDrawn="1"/>
          </p:nvSpPr>
          <p:spPr>
            <a:xfrm>
              <a:off x="6099661" y="4227602"/>
              <a:ext cx="276241" cy="255671"/>
            </a:xfrm>
            <a:prstGeom prst="mathPlus">
              <a:avLst>
                <a:gd name="adj1" fmla="val 33520"/>
              </a:avLst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4871" y="4313426"/>
              <a:ext cx="145818" cy="84021"/>
            </a:xfrm>
            <a:prstGeom prst="rect">
              <a:avLst/>
            </a:prstGeom>
          </p:spPr>
        </p:pic>
      </p:grpSp>
      <p:sp>
        <p:nvSpPr>
          <p:cNvPr id="7" name="Прямоугольник 6"/>
          <p:cNvSpPr/>
          <p:nvPr userDrawn="1"/>
        </p:nvSpPr>
        <p:spPr>
          <a:xfrm>
            <a:off x="-19393" y="14395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0"/>
                  <a:alpha val="94000"/>
                </a:schemeClr>
              </a:gs>
              <a:gs pos="54000">
                <a:schemeClr val="bg1">
                  <a:lumMod val="95000"/>
                  <a:alpha val="95000"/>
                </a:schemeClr>
              </a:gs>
              <a:gs pos="89000">
                <a:schemeClr val="bg1">
                  <a:lumMod val="95000"/>
                  <a:alpha val="94000"/>
                </a:schemeClr>
              </a:gs>
              <a:gs pos="100000">
                <a:schemeClr val="accent1">
                  <a:lumMod val="20000"/>
                  <a:lumOff val="80000"/>
                  <a:alpha val="93000"/>
                </a:schemeClr>
              </a:gs>
            </a:gsLst>
            <a:lin ang="0" scaled="1"/>
            <a:tileRect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10405" y="-3484"/>
            <a:ext cx="7514202" cy="78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185" y="169245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0482" y="65072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74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237908" y="7098"/>
            <a:ext cx="7923222" cy="457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121444" y="821238"/>
            <a:ext cx="1109804" cy="8046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1231248" y="821238"/>
            <a:ext cx="7912752" cy="80462"/>
          </a:xfrm>
          <a:prstGeom prst="rect">
            <a:avLst/>
          </a:prstGeom>
          <a:gradFill flip="none" rotWithShape="1">
            <a:gsLst>
              <a:gs pos="75000">
                <a:srgbClr val="F2F2F2"/>
              </a:gs>
              <a:gs pos="0">
                <a:schemeClr val="bg1">
                  <a:lumMod val="85000"/>
                </a:schemeClr>
              </a:gs>
              <a:gs pos="100000">
                <a:srgbClr val="DFEBF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3812" y="821238"/>
            <a:ext cx="125255" cy="804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8" y="93960"/>
            <a:ext cx="460882" cy="614509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>
          <a:xfrm>
            <a:off x="428130" y="208063"/>
            <a:ext cx="1546510" cy="341632"/>
          </a:xfrm>
          <a:prstGeom prst="rect">
            <a:avLst/>
          </a:prstGeom>
        </p:spPr>
        <p:txBody>
          <a:bodyPr wrap="square">
            <a:spAutoFit/>
          </a:bodyPr>
          <a:lstStyle>
            <a:defPPr lvl="0">
              <a:defRPr lang="ru-RU"/>
            </a:defPPr>
            <a:lvl1pPr marL="0" lv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Федеральная служба </a:t>
            </a:r>
          </a:p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по надзору </a:t>
            </a:r>
          </a:p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в сфере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1522589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5" r:id="rId1"/>
    <p:sldLayoutId id="2147484296" r:id="rId2"/>
    <p:sldLayoutId id="2147484297" r:id="rId3"/>
    <p:sldLayoutId id="2147484298" r:id="rId4"/>
    <p:sldLayoutId id="2147484299" r:id="rId5"/>
    <p:sldLayoutId id="2147484300" r:id="rId6"/>
    <p:sldLayoutId id="2147484301" r:id="rId7"/>
    <p:sldLayoutId id="2147484302" r:id="rId8"/>
    <p:sldLayoutId id="2147484303" r:id="rId9"/>
    <p:sldLayoutId id="2147484304" r:id="rId10"/>
    <p:sldLayoutId id="2147484305" r:id="rId11"/>
    <p:sldLayoutId id="2147484306" r:id="rId12"/>
    <p:sldLayoutId id="2147484307" r:id="rId13"/>
    <p:sldLayoutId id="2147484308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79">
          <p15:clr>
            <a:srgbClr val="F26B43"/>
          </p15:clr>
        </p15:guide>
        <p15:guide id="3" pos="1672">
          <p15:clr>
            <a:srgbClr val="F26B43"/>
          </p15:clr>
        </p15:guide>
        <p15:guide id="4" pos="1775">
          <p15:clr>
            <a:srgbClr val="F26B43"/>
          </p15:clr>
        </p15:guide>
        <p15:guide id="5" pos="7287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pos="3075">
          <p15:clr>
            <a:srgbClr val="F26B43"/>
          </p15:clr>
        </p15:guide>
        <p15:guide id="8" pos="3179">
          <p15:clr>
            <a:srgbClr val="F26B43"/>
          </p15:clr>
        </p15:guide>
        <p15:guide id="9" pos="3840">
          <p15:clr>
            <a:srgbClr val="F26B43"/>
          </p15:clr>
        </p15:guide>
        <p15:guide id="10" pos="4477">
          <p15:clr>
            <a:srgbClr val="F26B43"/>
          </p15:clr>
        </p15:guide>
        <p15:guide id="11" pos="4568">
          <p15:clr>
            <a:srgbClr val="F26B43"/>
          </p15:clr>
        </p15:guide>
        <p15:guide id="12" pos="5871">
          <p15:clr>
            <a:srgbClr val="F26B43"/>
          </p15:clr>
        </p15:guide>
        <p15:guide id="13" pos="5976">
          <p15:clr>
            <a:srgbClr val="F26B43"/>
          </p15:clr>
        </p15:guide>
        <p15:guide id="14" orient="horz" pos="3809">
          <p15:clr>
            <a:srgbClr val="F26B43"/>
          </p15:clr>
        </p15:guide>
        <p15:guide id="15" orient="horz" pos="3997">
          <p15:clr>
            <a:srgbClr val="F26B43"/>
          </p15:clr>
        </p15:guide>
        <p15:guide id="16" orient="horz" pos="3668">
          <p15:clr>
            <a:srgbClr val="F26B43"/>
          </p15:clr>
        </p15:guide>
        <p15:guide id="17" orient="horz" pos="1088">
          <p15:clr>
            <a:srgbClr val="F26B43"/>
          </p15:clr>
        </p15:guide>
        <p15:guide id="18" orient="horz" pos="504">
          <p15:clr>
            <a:srgbClr val="F26B43"/>
          </p15:clr>
        </p15:guide>
        <p15:guide id="19" pos="1048">
          <p15:clr>
            <a:srgbClr val="F26B43"/>
          </p15:clr>
        </p15:guide>
        <p15:guide id="20" orient="horz" pos="1230">
          <p15:clr>
            <a:srgbClr val="F26B43"/>
          </p15:clr>
        </p15:guide>
        <p15:guide id="21" orient="horz" pos="75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 userDrawn="1"/>
        </p:nvGrpSpPr>
        <p:grpSpPr>
          <a:xfrm>
            <a:off x="2369856" y="901700"/>
            <a:ext cx="4404289" cy="5435104"/>
            <a:chOff x="6099661" y="4227602"/>
            <a:chExt cx="276241" cy="255671"/>
          </a:xfrm>
        </p:grpSpPr>
        <p:sp>
          <p:nvSpPr>
            <p:cNvPr id="26" name="Плюс 25"/>
            <p:cNvSpPr/>
            <p:nvPr userDrawn="1"/>
          </p:nvSpPr>
          <p:spPr>
            <a:xfrm>
              <a:off x="6099661" y="4227602"/>
              <a:ext cx="276241" cy="255671"/>
            </a:xfrm>
            <a:prstGeom prst="mathPlus">
              <a:avLst>
                <a:gd name="adj1" fmla="val 33520"/>
              </a:avLst>
            </a:prstGeom>
            <a:noFill/>
            <a:ln w="762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8574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 userDrawn="1"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64871" y="4313426"/>
              <a:ext cx="145818" cy="84021"/>
            </a:xfrm>
            <a:prstGeom prst="rect">
              <a:avLst/>
            </a:prstGeom>
          </p:spPr>
        </p:pic>
      </p:grpSp>
      <p:sp>
        <p:nvSpPr>
          <p:cNvPr id="7" name="Прямоугольник 6"/>
          <p:cNvSpPr/>
          <p:nvPr userDrawn="1"/>
        </p:nvSpPr>
        <p:spPr>
          <a:xfrm>
            <a:off x="-19393" y="14395"/>
            <a:ext cx="9144000" cy="6858000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100000"/>
                  <a:alpha val="94000"/>
                </a:schemeClr>
              </a:gs>
              <a:gs pos="54000">
                <a:schemeClr val="bg1">
                  <a:lumMod val="95000"/>
                  <a:alpha val="95000"/>
                </a:schemeClr>
              </a:gs>
              <a:gs pos="89000">
                <a:schemeClr val="bg1">
                  <a:lumMod val="95000"/>
                  <a:alpha val="94000"/>
                </a:schemeClr>
              </a:gs>
              <a:gs pos="100000">
                <a:schemeClr val="accent1">
                  <a:lumMod val="20000"/>
                  <a:lumOff val="80000"/>
                  <a:alpha val="93000"/>
                </a:schemeClr>
              </a:gs>
            </a:gsLst>
            <a:lin ang="0" scaled="1"/>
            <a:tileRect/>
          </a:gradFill>
          <a:ln>
            <a:solidFill>
              <a:schemeClr val="accent1">
                <a:shade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10405" y="-3484"/>
            <a:ext cx="7514202" cy="78725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1185" y="169245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0482" y="650727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685741"/>
            <a:fld id="{48F63A3B-78C7-47BE-AE5E-E10140E0464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685741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1237908" y="7098"/>
            <a:ext cx="7923222" cy="45719"/>
          </a:xfrm>
          <a:prstGeom prst="rect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 userDrawn="1"/>
        </p:nvSpPr>
        <p:spPr>
          <a:xfrm>
            <a:off x="121444" y="821238"/>
            <a:ext cx="1109804" cy="80463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1231248" y="821238"/>
            <a:ext cx="7912752" cy="80462"/>
          </a:xfrm>
          <a:prstGeom prst="rect">
            <a:avLst/>
          </a:prstGeom>
          <a:gradFill flip="none" rotWithShape="1">
            <a:gsLst>
              <a:gs pos="75000">
                <a:srgbClr val="F2F2F2"/>
              </a:gs>
              <a:gs pos="0">
                <a:schemeClr val="bg1">
                  <a:lumMod val="85000"/>
                </a:schemeClr>
              </a:gs>
              <a:gs pos="100000">
                <a:srgbClr val="DFEBF7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Прямоугольник 12"/>
          <p:cNvSpPr/>
          <p:nvPr userDrawn="1"/>
        </p:nvSpPr>
        <p:spPr>
          <a:xfrm>
            <a:off x="-3812" y="821238"/>
            <a:ext cx="125255" cy="80463"/>
          </a:xfrm>
          <a:prstGeom prst="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68574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0" i="0" u="none" strike="noStrike" kern="1200" cap="none" spc="0" normalizeH="0" baseline="0" noProof="0" dirty="0">
              <a:ln>
                <a:solidFill>
                  <a:srgbClr val="C00000"/>
                </a:solidFill>
              </a:ln>
              <a:solidFill>
                <a:srgbClr val="C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38" y="93960"/>
            <a:ext cx="460882" cy="614509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>
          <a:xfrm>
            <a:off x="428130" y="208063"/>
            <a:ext cx="1546510" cy="341632"/>
          </a:xfrm>
          <a:prstGeom prst="rect">
            <a:avLst/>
          </a:prstGeom>
        </p:spPr>
        <p:txBody>
          <a:bodyPr wrap="square">
            <a:spAutoFit/>
          </a:bodyPr>
          <a:lstStyle>
            <a:defPPr lvl="0">
              <a:defRPr lang="ru-RU"/>
            </a:defPPr>
            <a:lvl1pPr marL="0" lv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lvl="1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lvl="2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lvl="3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lvl="4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lvl="5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lvl="6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lvl="7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lvl="8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Федеральная служба </a:t>
            </a:r>
          </a:p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по надзору </a:t>
            </a:r>
          </a:p>
          <a:p>
            <a:pPr marL="0" marR="0" lvl="0" indent="0" algn="l" defTabSz="717947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675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Georgia" pitchFamily="18" charset="0"/>
                <a:ea typeface="+mn-ea"/>
                <a:cs typeface="+mn-cs"/>
              </a:rPr>
              <a:t>в сфере здравоохранения</a:t>
            </a:r>
          </a:p>
        </p:txBody>
      </p:sp>
    </p:spTree>
    <p:extLst>
      <p:ext uri="{BB962C8B-B14F-4D97-AF65-F5344CB8AC3E}">
        <p14:creationId xmlns:p14="http://schemas.microsoft.com/office/powerpoint/2010/main" val="2825724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0" r:id="rId1"/>
    <p:sldLayoutId id="2147484311" r:id="rId2"/>
    <p:sldLayoutId id="2147484312" r:id="rId3"/>
    <p:sldLayoutId id="2147484313" r:id="rId4"/>
    <p:sldLayoutId id="2147484314" r:id="rId5"/>
    <p:sldLayoutId id="2147484315" r:id="rId6"/>
    <p:sldLayoutId id="2147484316" r:id="rId7"/>
    <p:sldLayoutId id="2147484317" r:id="rId8"/>
    <p:sldLayoutId id="2147484318" r:id="rId9"/>
    <p:sldLayoutId id="2147484319" r:id="rId10"/>
    <p:sldLayoutId id="2147484320" r:id="rId11"/>
    <p:sldLayoutId id="2147484321" r:id="rId12"/>
    <p:sldLayoutId id="2147484322" r:id="rId13"/>
    <p:sldLayoutId id="2147484323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79">
          <p15:clr>
            <a:srgbClr val="F26B43"/>
          </p15:clr>
        </p15:guide>
        <p15:guide id="3" pos="1672">
          <p15:clr>
            <a:srgbClr val="F26B43"/>
          </p15:clr>
        </p15:guide>
        <p15:guide id="4" pos="1775">
          <p15:clr>
            <a:srgbClr val="F26B43"/>
          </p15:clr>
        </p15:guide>
        <p15:guide id="5" pos="7287">
          <p15:clr>
            <a:srgbClr val="F26B43"/>
          </p15:clr>
        </p15:guide>
        <p15:guide id="6" orient="horz" pos="935">
          <p15:clr>
            <a:srgbClr val="F26B43"/>
          </p15:clr>
        </p15:guide>
        <p15:guide id="7" pos="3075">
          <p15:clr>
            <a:srgbClr val="F26B43"/>
          </p15:clr>
        </p15:guide>
        <p15:guide id="8" pos="3179">
          <p15:clr>
            <a:srgbClr val="F26B43"/>
          </p15:clr>
        </p15:guide>
        <p15:guide id="9" pos="3840">
          <p15:clr>
            <a:srgbClr val="F26B43"/>
          </p15:clr>
        </p15:guide>
        <p15:guide id="10" pos="4477">
          <p15:clr>
            <a:srgbClr val="F26B43"/>
          </p15:clr>
        </p15:guide>
        <p15:guide id="11" pos="4568">
          <p15:clr>
            <a:srgbClr val="F26B43"/>
          </p15:clr>
        </p15:guide>
        <p15:guide id="12" pos="5871">
          <p15:clr>
            <a:srgbClr val="F26B43"/>
          </p15:clr>
        </p15:guide>
        <p15:guide id="13" pos="5976">
          <p15:clr>
            <a:srgbClr val="F26B43"/>
          </p15:clr>
        </p15:guide>
        <p15:guide id="14" orient="horz" pos="3809">
          <p15:clr>
            <a:srgbClr val="F26B43"/>
          </p15:clr>
        </p15:guide>
        <p15:guide id="15" orient="horz" pos="3997">
          <p15:clr>
            <a:srgbClr val="F26B43"/>
          </p15:clr>
        </p15:guide>
        <p15:guide id="16" orient="horz" pos="3668">
          <p15:clr>
            <a:srgbClr val="F26B43"/>
          </p15:clr>
        </p15:guide>
        <p15:guide id="17" orient="horz" pos="1088">
          <p15:clr>
            <a:srgbClr val="F26B43"/>
          </p15:clr>
        </p15:guide>
        <p15:guide id="18" orient="horz" pos="504">
          <p15:clr>
            <a:srgbClr val="F26B43"/>
          </p15:clr>
        </p15:guide>
        <p15:guide id="19" pos="1048">
          <p15:clr>
            <a:srgbClr val="F26B43"/>
          </p15:clr>
        </p15:guide>
        <p15:guide id="20" orient="horz" pos="1230">
          <p15:clr>
            <a:srgbClr val="F26B43"/>
          </p15:clr>
        </p15:guide>
        <p15:guide id="21" orient="horz" pos="754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D15C566-DC53-4300-91C3-1F400017E09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.05.201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H="1">
            <a:off x="0" y="116632"/>
            <a:ext cx="9144000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35496" y="0"/>
            <a:ext cx="0" cy="68580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0" y="44624"/>
            <a:ext cx="91440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" name="Изображение 6" descr="logo_fs_rzn.jpe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611560" cy="9523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766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03" r:id="rId1"/>
    <p:sldLayoutId id="2147484404" r:id="rId2"/>
    <p:sldLayoutId id="2147484405" r:id="rId3"/>
    <p:sldLayoutId id="2147484406" r:id="rId4"/>
    <p:sldLayoutId id="2147484407" r:id="rId5"/>
    <p:sldLayoutId id="2147484408" r:id="rId6"/>
    <p:sldLayoutId id="2147484409" r:id="rId7"/>
    <p:sldLayoutId id="2147484410" r:id="rId8"/>
    <p:sldLayoutId id="2147484411" r:id="rId9"/>
    <p:sldLayoutId id="2147484412" r:id="rId10"/>
    <p:sldLayoutId id="2147484413" r:id="rId11"/>
    <p:sldLayoutId id="2147484414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6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8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9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0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microsoft.com/office/2007/relationships/diagramDrawing" Target="../diagrams/drawing1.xml"/><Relationship Id="rId3" Type="http://schemas.openxmlformats.org/officeDocument/2006/relationships/tags" Target="../tags/tag238.xml"/><Relationship Id="rId7" Type="http://schemas.openxmlformats.org/officeDocument/2006/relationships/image" Target="../media/image20.emf"/><Relationship Id="rId12" Type="http://schemas.openxmlformats.org/officeDocument/2006/relationships/diagramColors" Target="../diagrams/colors1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33.vml"/><Relationship Id="rId6" Type="http://schemas.openxmlformats.org/officeDocument/2006/relationships/oleObject" Target="../embeddings/oleObject133.bin"/><Relationship Id="rId11" Type="http://schemas.openxmlformats.org/officeDocument/2006/relationships/diagramQuickStyle" Target="../diagrams/quickStyle1.xml"/><Relationship Id="rId5" Type="http://schemas.openxmlformats.org/officeDocument/2006/relationships/notesSlide" Target="../notesSlides/notesSlide3.xml"/><Relationship Id="rId10" Type="http://schemas.openxmlformats.org/officeDocument/2006/relationships/diagramLayout" Target="../diagrams/layout1.xml"/><Relationship Id="rId4" Type="http://schemas.openxmlformats.org/officeDocument/2006/relationships/slideLayout" Target="../slideLayouts/slideLayout147.xml"/><Relationship Id="rId9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2"/>
          <p:cNvSpPr txBox="1">
            <a:spLocks/>
          </p:cNvSpPr>
          <p:nvPr/>
        </p:nvSpPr>
        <p:spPr>
          <a:xfrm>
            <a:off x="683568" y="260648"/>
            <a:ext cx="8568952" cy="43204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400" b="1" dirty="0" smtClean="0">
                <a:solidFill>
                  <a:srgbClr val="59B0B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Территориальный орган Федеральной службы </a:t>
            </a:r>
            <a:r>
              <a:rPr lang="ru-RU" sz="2400" b="1" dirty="0">
                <a:solidFill>
                  <a:srgbClr val="59B0B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по надзору в сфере </a:t>
            </a:r>
            <a:r>
              <a:rPr lang="ru-RU" sz="2400" b="1" dirty="0" smtClean="0">
                <a:solidFill>
                  <a:srgbClr val="59B0B9">
                    <a:lumMod val="50000"/>
                  </a:srgbClr>
                </a:solidFill>
                <a:latin typeface="Times New Roman" pitchFamily="18" charset="0"/>
                <a:cs typeface="Times New Roman" pitchFamily="18" charset="0"/>
              </a:rPr>
              <a:t>здравоохранения по Приморскому краю</a:t>
            </a:r>
            <a:endParaRPr lang="ru-RU" sz="2400" b="1" dirty="0">
              <a:solidFill>
                <a:srgbClr val="59B0B9">
                  <a:lumMod val="50000"/>
                </a:srgb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683569" y="1484784"/>
            <a:ext cx="8064896" cy="50844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kern="50" dirty="0" smtClean="0">
                <a:latin typeface="Times New Roman"/>
                <a:ea typeface="Arial Unicode MS"/>
              </a:rPr>
              <a:t>«Система маркировки лекарственных препаратов. Уведомление о начале деятельности с медицинскими изделиями. Контрольная закупка. Калькулятор категорий риска.»</a:t>
            </a:r>
            <a:endParaRPr lang="ru-RU" sz="3200" b="1" dirty="0" smtClean="0">
              <a:solidFill>
                <a:srgbClr val="FF0000"/>
              </a:solidFill>
            </a:endParaRPr>
          </a:p>
          <a:p>
            <a:pPr algn="ctr"/>
            <a:endParaRPr lang="ru-RU" b="1" dirty="0">
              <a:solidFill>
                <a:srgbClr val="FF0000"/>
              </a:solidFill>
            </a:endParaRP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Александрова Наталья Вячеславовна</a:t>
            </a: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endParaRPr lang="ru-RU" sz="1600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r>
              <a:rPr lang="ru-RU" sz="1600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Начальник отдела </a:t>
            </a: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мониторинга и  контроля качества медицинской продукции</a:t>
            </a: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Территориального органа Росздравнадзора</a:t>
            </a: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r>
              <a:rPr lang="ru-RU" sz="1600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по Приморскому краю</a:t>
            </a: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endParaRPr lang="ru-RU" sz="1500" b="1" dirty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>
              <a:spcBef>
                <a:spcPct val="20000"/>
              </a:spcBef>
              <a:buClr>
                <a:srgbClr val="31B6FD"/>
              </a:buClr>
              <a:buSzPct val="100000"/>
            </a:pP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. Владивосток, </a:t>
            </a:r>
            <a:r>
              <a:rPr lang="ru-RU" sz="1200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21 мая 2019 </a:t>
            </a:r>
            <a:r>
              <a:rPr lang="ru-RU" sz="1200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года</a:t>
            </a:r>
          </a:p>
          <a:p>
            <a:pPr algn="ctr"/>
            <a:endParaRPr lang="ru-RU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92465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142852"/>
            <a:ext cx="8572528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меры ошибок при оформлении уведомлени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7" y="908720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5392091" y="2852936"/>
            <a:ext cx="3428381" cy="1152128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казан ОКВЭД, не указан вид деятельности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и состав работ (услуг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076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1000108"/>
            <a:ext cx="4608512" cy="57412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92888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219052"/>
            <a:ext cx="8572528" cy="833684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ипичные ошибки при подаче уведомлений о начале деятельност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467156" y="980728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Прямоугольник 1"/>
          <p:cNvSpPr/>
          <p:nvPr/>
        </p:nvSpPr>
        <p:spPr>
          <a:xfrm>
            <a:off x="604948" y="1196752"/>
            <a:ext cx="8227793" cy="5400600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форма уведомления не соответствует форме, указанной в приложении № 2 Правил представления уведомлений о начале осуществления отдельных видов предпринимательской деятельности; </a:t>
            </a:r>
            <a:endParaRPr kumimoji="0" lang="ru-RU" sz="1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нформация о заявителе не соответствует данным ЕГРЮЛ и ЕГРИП (например, неверно указан ИНН, ОГРН, ОГРНИП, наименование организации, ФИО генерального директора; </a:t>
            </a:r>
            <a:endParaRPr kumimoji="0" lang="ru-RU" sz="17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уведомлении отсутствуют ИНН, ОГРН, ОГРНИП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иды работ (оказания услуг) не соответствует перечню, указанному в пункте 87 приложения № 1 Правил представления уведомлений о начале осуществления отдельных видов предпринимательской деятельности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сутствует печать 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рганизации;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ведомление подано в одном </a:t>
            </a:r>
            <a:r>
              <a:rPr kumimoji="0" lang="ru-RU" sz="17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экземпляр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.  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61725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331640" y="1548462"/>
            <a:ext cx="6377798" cy="72841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чины внесения изменений в реестровую запись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142852"/>
            <a:ext cx="8572528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сение изменений в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еестровую 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пись </a:t>
            </a:r>
            <a:endParaRPr kumimoji="0" lang="ru-RU" sz="24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447702" y="3645024"/>
            <a:ext cx="8444778" cy="67946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б) изменение места жительства индивидуального предпринимателя и (или) места фактического осуществления деятельности;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29529" y="2564904"/>
            <a:ext cx="8496943" cy="72008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) изменение места нахождения юридического лица и (или) места фактического осуществления деятельности;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47701" y="4653136"/>
            <a:ext cx="8444777" cy="64807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) реорганизация юридического лица.</a:t>
            </a:r>
          </a:p>
        </p:txBody>
      </p:sp>
    </p:spTree>
    <p:extLst>
      <p:ext uri="{BB962C8B-B14F-4D97-AF65-F5344CB8AC3E}">
        <p14:creationId xmlns:p14="http://schemas.microsoft.com/office/powerpoint/2010/main" val="10271740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142852"/>
            <a:ext cx="8572528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чины отказов во внесении изменений </a:t>
            </a:r>
            <a:b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реестровую запись 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616908" y="1700808"/>
            <a:ext cx="8054516" cy="129614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внесении изменений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 отсутствует подтверждение изменений, указанных в пункте 10 Правил при обращении с заявлением о внесении изменений в реестровую запись.</a:t>
            </a: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41492" y="3573016"/>
            <a:ext cx="8054516" cy="26642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b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ля подтверждения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оответствующих изменений заявитель вправе предоставить:</a:t>
            </a: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ведения о внесении соответствующих изменений в ЕГРЮЛ или ЕГРИП </a:t>
            </a: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ведения о внесении соответствующих изменений в Единый государственный реестр прав на недвижимое имущество и сделок с ним (ЕГРП),</a:t>
            </a:r>
          </a:p>
          <a:p>
            <a:pPr marL="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кументы, подтверждающие право использовать помещение.</a:t>
            </a:r>
          </a:p>
        </p:txBody>
      </p:sp>
    </p:spTree>
    <p:extLst>
      <p:ext uri="{BB962C8B-B14F-4D97-AF65-F5344CB8AC3E}">
        <p14:creationId xmlns:p14="http://schemas.microsoft.com/office/powerpoint/2010/main" val="3619430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70206" y="993379"/>
            <a:ext cx="5732394" cy="529568"/>
          </a:xfrm>
          <a:solidFill>
            <a:schemeClr val="bg2">
              <a:lumMod val="90000"/>
            </a:schemeClr>
          </a:solidFill>
        </p:spPr>
        <p:txBody>
          <a:bodyPr>
            <a:normAutofit/>
          </a:bodyPr>
          <a:lstStyle/>
          <a:p>
            <a:pPr algn="ctr">
              <a:spcBef>
                <a:spcPct val="20000"/>
              </a:spcBef>
            </a:pPr>
            <a:r>
              <a:rPr lang="ru-RU" sz="1350" b="1" dirty="0">
                <a:latin typeface="Arial" panose="020B0604020202020204" pitchFamily="34" charset="0"/>
                <a:cs typeface="Arial" panose="020B0604020202020204" pitchFamily="34" charset="0"/>
              </a:rPr>
              <a:t>Уведомление о начале осуществления деятельности в сфере обращения медицинских изделий</a:t>
            </a:r>
            <a:endParaRPr lang="ru-RU" sz="135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30" name="Picture 6"/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9302" y="1862826"/>
            <a:ext cx="6696744" cy="3348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88826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611188" y="142852"/>
            <a:ext cx="8478837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естр уведомлений об осуществлении деятельности в сфере обращения медицинских изделий 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1034978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1387340"/>
            <a:ext cx="8195939" cy="4201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2609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142852"/>
            <a:ext cx="8572528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4F81BD">
                    <a:lumMod val="50000"/>
                  </a:srgb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тветственность за нарушения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4F81BD">
                  <a:lumMod val="50000"/>
                </a:srgb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Скругленный прямоугольник 11"/>
          <p:cNvSpPr/>
          <p:nvPr/>
        </p:nvSpPr>
        <p:spPr>
          <a:xfrm>
            <a:off x="551187" y="1112844"/>
            <a:ext cx="8054516" cy="176008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ридические лица, индивидуальные предприниматели в случае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представления уведомлений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 начале осуществления отдельных видов предпринимательской деятельности ил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ставлени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таких уведомлений с содержанием в них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остоверных сведений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несут ответственность в соответствии с законодательством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/>
            </a:r>
            <a:b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оссийской Федерации: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24940" y="2994103"/>
            <a:ext cx="7980763" cy="1461258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тья 19.7.5-1 КоАП РФ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рушение юридическим лицом или индивидуальным предпринимателем установленного порядка представления уведомлений о начале осуществления предпринимательской деятельности</a:t>
            </a:r>
          </a:p>
        </p:txBody>
      </p:sp>
      <p:sp>
        <p:nvSpPr>
          <p:cNvPr id="2" name="Скругленный прямоугольник 1"/>
          <p:cNvSpPr/>
          <p:nvPr/>
        </p:nvSpPr>
        <p:spPr>
          <a:xfrm>
            <a:off x="618084" y="4538281"/>
            <a:ext cx="7980763" cy="10801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рок привлечения к административной ответственности: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 месяца с даты фактического выполнения работ или услуг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24940" y="5701321"/>
            <a:ext cx="7980763" cy="108012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язаны подавать уведомление только те субъекты обращения медицинских изделий, которые начали свою деятельность после 18.12.2014 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9234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1412776"/>
            <a:ext cx="7776864" cy="4226024"/>
          </a:xfrm>
        </p:spPr>
        <p:txBody>
          <a:bodyPr>
            <a:normAutofit fontScale="32500" lnSpcReduction="20000"/>
          </a:bodyPr>
          <a:lstStyle/>
          <a:p>
            <a:pPr algn="l"/>
            <a:endParaRPr lang="ru-RU" sz="4400" dirty="0" smtClean="0">
              <a:solidFill>
                <a:srgbClr val="000000"/>
              </a:solidFill>
              <a:latin typeface="Arial"/>
            </a:endParaRPr>
          </a:p>
          <a:p>
            <a:pPr algn="l"/>
            <a:endParaRPr lang="ru-RU" sz="4400" dirty="0">
              <a:solidFill>
                <a:srgbClr val="000000"/>
              </a:solidFill>
              <a:latin typeface="Arial"/>
            </a:endParaRPr>
          </a:p>
          <a:p>
            <a:pPr algn="l"/>
            <a:endParaRPr lang="ru-RU" sz="4400" dirty="0" smtClean="0">
              <a:solidFill>
                <a:srgbClr val="000000"/>
              </a:solidFill>
              <a:latin typeface="Arial"/>
            </a:endParaRPr>
          </a:p>
          <a:p>
            <a:pPr algn="l"/>
            <a:endParaRPr lang="ru-RU" sz="4400" dirty="0">
              <a:solidFill>
                <a:srgbClr val="000000"/>
              </a:solidFill>
              <a:latin typeface="Arial"/>
            </a:endParaRPr>
          </a:p>
          <a:p>
            <a:r>
              <a:rPr lang="ru-RU" sz="4400" dirty="0">
                <a:solidFill>
                  <a:srgbClr val="000000"/>
                </a:solidFill>
                <a:latin typeface="Arial"/>
              </a:rPr>
              <a:t>	</a:t>
            </a:r>
          </a:p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Научно-</a:t>
            </a:r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сследовательскиеорганизации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1	-	-	-	-	-	-	-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разовательныеорганизациивысшегоучреждения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1	-	-	-	-	-	-	-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едицинскиеорганизации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9	-	4	3	3	-	4	</a:t>
            </a:r>
          </a:p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птекапроизводственнаясправомизготовленияасептическихлекарственныхпрепаратов	-	-	10	4	3	-	10	6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птекапроизводственная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-	9	4	3	-	9	6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птекаготовыхлекарственныхформ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-	-	4	3	-	5	4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птечныйпункт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-	-	4	3	-	8	8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Аптечныйкиоск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-	-	4	-	-	2	5	</a:t>
            </a:r>
          </a:p>
          <a:p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Индивидуальныйпредприниматель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	-	-	9	4	3	-	4	8	</a:t>
            </a:r>
          </a:p>
          <a:p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особленноеструктурныеподразделениемедицинскойорганизации:амбулатория,фельдшерскийпункт,фельдшерско-акушерскийпункт,центр(отделение)</a:t>
            </a:r>
            <a:r>
              <a:rPr lang="ru-RU" dirty="0" err="1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общейврачебной</a:t>
            </a:r>
            <a:r>
              <a:rPr lang="ru-RU" dirty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(семейной)практики	-	-	-	4	3	-	2	4	</a:t>
            </a:r>
          </a:p>
          <a:p>
            <a:endParaRPr lang="ru-RU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29" y="188640"/>
            <a:ext cx="8926742" cy="60486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704842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8D01406-0FF2-49F8-9557-AEE087A716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57605" y="247069"/>
            <a:ext cx="7425904" cy="881936"/>
          </a:xfrm>
        </p:spPr>
        <p:txBody>
          <a:bodyPr/>
          <a:lstStyle/>
          <a:p>
            <a:pPr algn="ctr"/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21.05.2019 в 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ФГИС 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МДЛП (сегмент Приморский край </a:t>
            </a:r>
            <a:r>
              <a:rPr lang="ru-RU" sz="28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2368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 субъектов):</a:t>
            </a:r>
            <a:endParaRPr lang="ru-RU" sz="2800" b="1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DD11C235-3B1D-436B-8E85-872A58EC73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8831006"/>
              </p:ext>
            </p:extLst>
          </p:nvPr>
        </p:nvGraphicFramePr>
        <p:xfrm>
          <a:off x="971600" y="1484784"/>
          <a:ext cx="7425903" cy="4894316"/>
        </p:xfrm>
        <a:graphic>
          <a:graphicData uri="http://schemas.openxmlformats.org/drawingml/2006/table">
            <a:tbl>
              <a:tblPr firstRow="1" firstCol="1" bandRow="1"/>
              <a:tblGrid>
                <a:gridCol w="3982345">
                  <a:extLst>
                    <a:ext uri="{9D8B030D-6E8A-4147-A177-3AD203B41FA5}">
                      <a16:colId xmlns:a16="http://schemas.microsoft.com/office/drawing/2014/main" val="2841283356"/>
                    </a:ext>
                  </a:extLst>
                </a:gridCol>
                <a:gridCol w="3443558">
                  <a:extLst>
                    <a:ext uri="{9D8B030D-6E8A-4147-A177-3AD203B41FA5}">
                      <a16:colId xmlns:a16="http://schemas.microsoft.com/office/drawing/2014/main" val="2414294284"/>
                    </a:ext>
                  </a:extLst>
                </a:gridCol>
              </a:tblGrid>
              <a:tr h="720080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8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регистрировано организаций (юридических </a:t>
                      </a: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иц и ИП)</a:t>
                      </a: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– 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5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80031984"/>
                  </a:ext>
                </a:extLst>
              </a:tr>
              <a:tr h="172819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Личный кабинет участника оборота лекарственных препаратов доступен по адресу  </a:t>
                      </a:r>
                      <a:r>
                        <a:rPr kumimoji="0" lang="en-US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https://mdlp.crpt.ru </a:t>
                      </a:r>
                    </a:p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8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лужба технической поддержки (СТП) оператора ФГИС МДЛП </a:t>
                      </a:r>
                      <a:r>
                        <a:rPr kumimoji="0" lang="ru-RU" sz="2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https://support.crpt.ru</a:t>
                      </a:r>
                    </a:p>
                    <a:p>
                      <a:pPr algn="just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endParaRPr lang="ru-RU" sz="24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45330087"/>
                  </a:ext>
                </a:extLst>
              </a:tr>
              <a:tr h="339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Н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ведения о наличии лицензии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ФИО, телефон руководителя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рес электронной почты</a:t>
                      </a: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несенную информацию заверить усиленной электронной подписью руководителя</a:t>
                      </a:r>
                      <a:endParaRPr lang="ru-RU" sz="24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21951606"/>
                  </a:ext>
                </a:extLst>
              </a:tr>
              <a:tr h="810422">
                <a:tc>
                  <a:txBody>
                    <a:bodyPr/>
                    <a:lstStyle/>
                    <a:p>
                      <a:pPr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2000" b="1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ркированные лекарственные препараты имеются в компаниях</a:t>
                      </a:r>
                      <a:endParaRPr lang="ru-RU" sz="2000" b="1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25000"/>
                        </a:lnSpc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О</a:t>
                      </a:r>
                      <a:r>
                        <a:rPr lang="ru-RU" sz="2400" baseline="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Фирма ЦВ </a:t>
                      </a:r>
                      <a:r>
                        <a:rPr lang="ru-RU" sz="24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ек, АО НПК Катрен</a:t>
                      </a:r>
                      <a:endParaRPr lang="ru-RU" sz="240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063031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274407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ru-RU" sz="3200" dirty="0" smtClean="0">
                <a:latin typeface="Times New Roman" pitchFamily="18" charset="0"/>
                <a:cs typeface="Times New Roman" pitchFamily="18" charset="0"/>
              </a:rPr>
              <a:t>   Новые нормативные документы, относящиеся к регулированию МДЛП</a:t>
            </a:r>
            <a:endParaRPr lang="ru-RU" sz="3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algn="just"/>
            <a:r>
              <a:rPr lang="ru-RU" sz="2200" dirty="0" smtClean="0">
                <a:latin typeface="Times New Roman" panose="02020603050405020304" pitchFamily="18" charset="0"/>
                <a:cs typeface="Times New Roman" pitchFamily="18" charset="0"/>
              </a:rPr>
              <a:t>ПП РФ № 1158 от 14.12.2018  - об утверждении Правил размещения информации ФГИС МДЛП в сети Интернет;</a:t>
            </a:r>
          </a:p>
          <a:p>
            <a:pPr algn="just"/>
            <a:r>
              <a:rPr lang="ru-RU" sz="2200" dirty="0" smtClean="0">
                <a:latin typeface="Times New Roman" panose="02020603050405020304" pitchFamily="18" charset="0"/>
                <a:cs typeface="Times New Roman" pitchFamily="18" charset="0"/>
              </a:rPr>
              <a:t>Распоряжение Правительства РФ  № 2828-р от 18.12.2018 - об утверждении ООО «Оператор ЦРПТ» по ведению ФГИС МДЛП;</a:t>
            </a:r>
          </a:p>
          <a:p>
            <a:pPr algn="just"/>
            <a:r>
              <a:rPr lang="ru-RU" sz="2200" dirty="0" smtClean="0">
                <a:latin typeface="Times New Roman" panose="02020603050405020304" pitchFamily="18" charset="0"/>
                <a:cs typeface="Times New Roman" pitchFamily="18" charset="0"/>
              </a:rPr>
              <a:t>ПП РФ  № 1557 от 14.12.18  - об особенностях внедрения системы МДЛП;</a:t>
            </a:r>
          </a:p>
          <a:p>
            <a:pPr algn="just"/>
            <a:r>
              <a:rPr lang="ru-RU" sz="2200" dirty="0" smtClean="0">
                <a:latin typeface="Times New Roman" panose="02020603050405020304" pitchFamily="18" charset="0"/>
                <a:cs typeface="Times New Roman" pitchFamily="18" charset="0"/>
              </a:rPr>
              <a:t>ПП  РФ  № 1556 от 14.12.18  - об утверждении Положения о системе МДЛП</a:t>
            </a:r>
          </a:p>
          <a:p>
            <a:pPr algn="just"/>
            <a:r>
              <a:rPr lang="ru-RU" sz="2200" dirty="0" smtClean="0">
                <a:latin typeface="Times New Roman" panose="02020603050405020304" pitchFamily="18" charset="0"/>
                <a:cs typeface="Times New Roman" pitchFamily="18" charset="0"/>
              </a:rPr>
              <a:t>ПП РФ № 515 от 24.04.2019 - о системе маркировки товаров средствами идентификации и </a:t>
            </a:r>
            <a:r>
              <a:rPr lang="ru-RU" sz="2200" dirty="0" err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рослеживаемости</a:t>
            </a:r>
            <a:r>
              <a:rPr lang="ru-RU" sz="22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движения товаров</a:t>
            </a:r>
          </a:p>
          <a:p>
            <a:pPr algn="just"/>
            <a:endParaRPr lang="ru-RU" sz="2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AD5296C-1AEA-42D9-805A-6AAEF4425B9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46030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0D048FD8-2E90-4A76-A1E8-2184D642E94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0" name="think-cell Slide" r:id="rId6" imgW="415" imgH="416" progId="TCLayout.ActiveDocument.1">
                  <p:embed/>
                </p:oleObj>
              </mc:Choice>
              <mc:Fallback>
                <p:oleObj name="think-cell Slide" r:id="rId6" imgW="415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>
            <a:extLst>
              <a:ext uri="{FF2B5EF4-FFF2-40B4-BE49-F238E27FC236}">
                <a16:creationId xmlns:a16="http://schemas.microsoft.com/office/drawing/2014/main" id="{3FD10373-A0D4-46BA-8CB5-FA043327408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" y="0"/>
            <a:ext cx="119063" cy="158750"/>
          </a:xfrm>
          <a:prstGeom prst="rect">
            <a:avLst/>
          </a:prstGeom>
          <a:solidFill>
            <a:srgbClr val="595959"/>
          </a:solidFill>
          <a:ln w="9525" cap="rnd" cmpd="sng" algn="ctr">
            <a:solidFill>
              <a:srgbClr val="595959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400" b="1" dirty="0">
              <a:solidFill>
                <a:srgbClr val="FFFFFF"/>
              </a:solidFill>
              <a:sym typeface="PT Sans Caption" panose="020B0603020203020204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500" y="411654"/>
            <a:ext cx="8052697" cy="332399"/>
          </a:xfrm>
        </p:spPr>
        <p:txBody>
          <a:bodyPr/>
          <a:lstStyle/>
          <a:p>
            <a:r>
              <a:rPr lang="ru-RU" dirty="0">
                <a:latin typeface="+mj-lt"/>
              </a:rPr>
              <a:t>Изменения для медицинских организаций и аптек</a:t>
            </a:r>
            <a:endParaRPr lang="en-US" dirty="0">
              <a:latin typeface="+mj-lt"/>
            </a:endParaRPr>
          </a:p>
        </p:txBody>
      </p:sp>
      <p:pic>
        <p:nvPicPr>
          <p:cNvPr id="43" name="Picture 42"/>
          <p:cNvPicPr preferRelativeResize="0"/>
          <p:nvPr/>
        </p:nvPicPr>
        <p:blipFill rotWithShape="1">
          <a:blip r:embed="rId8">
            <a:alphaModFix/>
          </a:blip>
          <a:srcRect l="-57" t="571" r="55" b="32592"/>
          <a:stretch/>
        </p:blipFill>
        <p:spPr>
          <a:xfrm>
            <a:off x="8525195" y="102516"/>
            <a:ext cx="548403" cy="941556"/>
          </a:xfrm>
          <a:custGeom>
            <a:avLst/>
            <a:gdLst>
              <a:gd name="connsiteX0" fmla="*/ 193149 w 1158868"/>
              <a:gd name="connsiteY0" fmla="*/ 0 h 1492250"/>
              <a:gd name="connsiteX1" fmla="*/ 965719 w 1158868"/>
              <a:gd name="connsiteY1" fmla="*/ 0 h 1492250"/>
              <a:gd name="connsiteX2" fmla="*/ 1158868 w 1158868"/>
              <a:gd name="connsiteY2" fmla="*/ 193149 h 1492250"/>
              <a:gd name="connsiteX3" fmla="*/ 1158868 w 1158868"/>
              <a:gd name="connsiteY3" fmla="*/ 1299101 h 1492250"/>
              <a:gd name="connsiteX4" fmla="*/ 965719 w 1158868"/>
              <a:gd name="connsiteY4" fmla="*/ 1492250 h 1492250"/>
              <a:gd name="connsiteX5" fmla="*/ 193149 w 1158868"/>
              <a:gd name="connsiteY5" fmla="*/ 1492250 h 1492250"/>
              <a:gd name="connsiteX6" fmla="*/ 0 w 1158868"/>
              <a:gd name="connsiteY6" fmla="*/ 1299101 h 1492250"/>
              <a:gd name="connsiteX7" fmla="*/ 0 w 1158868"/>
              <a:gd name="connsiteY7" fmla="*/ 193149 h 1492250"/>
              <a:gd name="connsiteX8" fmla="*/ 193149 w 1158868"/>
              <a:gd name="connsiteY8" fmla="*/ 0 h 1492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8868" h="1492250">
                <a:moveTo>
                  <a:pt x="193149" y="0"/>
                </a:moveTo>
                <a:lnTo>
                  <a:pt x="965719" y="0"/>
                </a:lnTo>
                <a:cubicBezTo>
                  <a:pt x="1072392" y="0"/>
                  <a:pt x="1158868" y="86476"/>
                  <a:pt x="1158868" y="193149"/>
                </a:cubicBezTo>
                <a:lnTo>
                  <a:pt x="1158868" y="1299101"/>
                </a:lnTo>
                <a:cubicBezTo>
                  <a:pt x="1158868" y="1405774"/>
                  <a:pt x="1072392" y="1492250"/>
                  <a:pt x="965719" y="1492250"/>
                </a:cubicBezTo>
                <a:lnTo>
                  <a:pt x="193149" y="1492250"/>
                </a:lnTo>
                <a:cubicBezTo>
                  <a:pt x="86476" y="1492250"/>
                  <a:pt x="0" y="1405774"/>
                  <a:pt x="0" y="1299101"/>
                </a:cubicBezTo>
                <a:lnTo>
                  <a:pt x="0" y="193149"/>
                </a:lnTo>
                <a:cubicBezTo>
                  <a:pt x="0" y="86476"/>
                  <a:pt x="86476" y="0"/>
                  <a:pt x="193149" y="0"/>
                </a:cubicBezTo>
                <a:close/>
              </a:path>
            </a:pathLst>
          </a:custGeom>
          <a:noFill/>
          <a:ln>
            <a:noFill/>
          </a:ln>
        </p:spPr>
      </p:pic>
      <p:graphicFrame>
        <p:nvGraphicFramePr>
          <p:cNvPr id="16" name="Схема 15">
            <a:extLst>
              <a:ext uri="{FF2B5EF4-FFF2-40B4-BE49-F238E27FC236}">
                <a16:creationId xmlns:a16="http://schemas.microsoft.com/office/drawing/2014/main" id="{54256C94-F7FB-4F75-9968-AF85A2A0EF0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8602201"/>
              </p:ext>
            </p:extLst>
          </p:nvPr>
        </p:nvGraphicFramePr>
        <p:xfrm>
          <a:off x="270159" y="1349409"/>
          <a:ext cx="8392228" cy="50969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  <p:extLst>
      <p:ext uri="{BB962C8B-B14F-4D97-AF65-F5344CB8AC3E}">
        <p14:creationId xmlns:p14="http://schemas.microsoft.com/office/powerpoint/2010/main" val="1609828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1787276" y="1008286"/>
            <a:ext cx="5685234" cy="54006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vert="horz" lIns="68580" tIns="34290" rIns="68580" bIns="34290" rtlCol="0" anchor="ctr" anchorCtr="0">
            <a:noAutofit/>
          </a:bodyPr>
          <a:lstStyle/>
          <a:p>
            <a:pPr algn="ctr" defTabSz="685800">
              <a:spcBef>
                <a:spcPct val="20000"/>
              </a:spcBef>
            </a:pPr>
            <a:r>
              <a:rPr lang="ru-RU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ведомление о начале осуществления деятельности в сфере обращения медицинских изделий</a:t>
            </a:r>
            <a:endParaRPr lang="ru-RU" sz="1350" b="1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ый прямоугольник 6"/>
          <p:cNvSpPr/>
          <p:nvPr/>
        </p:nvSpPr>
        <p:spPr>
          <a:xfrm>
            <a:off x="690352" y="3381274"/>
            <a:ext cx="7852808" cy="1200851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о выданных уведомлениях о начале осуществления предпринимательской деятельности представлена на официальном сайте Росздравнадзора www.roszdravnadzor.ru в разделе «Электронные сервисы» → </a:t>
            </a:r>
            <a:r>
              <a:rPr lang="ru-RU" sz="1125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Реестр уведомлений об осуществлении деятельности в сфере обращения медицинских изделий».</a:t>
            </a:r>
          </a:p>
          <a:p>
            <a:pPr defTabSz="685800"/>
            <a:endParaRPr lang="ru-RU" sz="1125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703489" y="4630350"/>
            <a:ext cx="7852808" cy="1021916"/>
          </a:xfrm>
          <a:prstGeom prst="roundRect">
            <a:avLst>
              <a:gd name="adj" fmla="val 19276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1125" b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ья 19.7.5-1 КоАП РФ </a:t>
            </a:r>
          </a:p>
          <a:p>
            <a:pPr algn="ctr" defTabSz="685800"/>
            <a: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рушение юридическим лицом или индивидуальным предпринимателем установленного порядка представления уведомлений о начале осуществления предпринимательской деятельности</a:t>
            </a: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690353" y="1647855"/>
            <a:ext cx="7852808" cy="1685194"/>
          </a:xfrm>
          <a:prstGeom prst="roundRect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/>
            <a: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125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января 2019 года </a:t>
            </a:r>
            <a:r>
              <a:rPr lang="ru-RU" sz="1125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тупили </a:t>
            </a:r>
            <a: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илу изменения, внесенные в Правила представления уведомлений о начале осуществления отдельных видов предпринимательской деятельности и учета указанных уведомлений (внесены постановлением Правительства Российской Федерации от 12 ноября 2018 г. № 1352), утвержденные постановлением Правительства Российской Федерации </a:t>
            </a:r>
            <a:b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25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6 июля 2009 г. № 584 «Об уведомительном порядке начала осуществления отдельных видов предпринимательской деятельности» </a:t>
            </a:r>
            <a:r>
              <a:rPr lang="ru-RU" sz="1125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части наделения полномочиями по приему и учету уведомлений о начале осуществления деятельности в сфере обращения медицинских изделий территориальных органов Федеральной службы по надзору в сфере здравоохранения</a:t>
            </a:r>
            <a:r>
              <a:rPr lang="ru-RU" sz="135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3501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571472" y="142852"/>
            <a:ext cx="8572528" cy="857256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ормативные правовые </a:t>
            </a: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кты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Скругленный прямоугольник 10"/>
          <p:cNvSpPr/>
          <p:nvPr/>
        </p:nvSpPr>
        <p:spPr>
          <a:xfrm>
            <a:off x="580964" y="1156996"/>
            <a:ext cx="8321008" cy="100665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Статья 8 Федерального закона от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6.12.2008 № 294-ФЗ 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О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щите прав юридических лиц и индивидуальных предпринимателей при осуществлении государственного контроля (надзора) и муниципального контроля»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5345" y="2308880"/>
            <a:ext cx="8321008" cy="86409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становление Правительства Российской Федерации о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6.07.2009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№ 584 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Об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ведомительном порядке начала осуществления отдельных видов предпринимательской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ятельности»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85345" y="4581128"/>
            <a:ext cx="8321008" cy="2088232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каз Минздрава России от 11.03.2016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№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55н </a:t>
            </a: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Об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тверждении Административного регламента Федеральной службы по надзору в сфере здравоохранения по предоставлению государственной услуги по приему и учету уведомлений о начале осуществления деятельности в сфере обращения медицинских изделий (за исключением проведения клинических испытаний медицинских изделий, их производства, монтажа, наладки, применения, эксплуатации, в том числе технического обслуживания, а также ремонта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»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73905" y="3347985"/>
            <a:ext cx="8321008" cy="108912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становление Правительства Российской Федерации от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2.11.2019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№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1352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«О внесении изменения в Правила представления уведомлений о начале осуществления отдельных видов предпринимательской деятельности и учета указанных уведомлений» 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1606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683568" y="89379"/>
            <a:ext cx="8242414" cy="1729704"/>
          </a:xfrm>
          <a:prstGeom prst="rect">
            <a:avLst/>
          </a:prstGeom>
        </p:spPr>
        <p:txBody>
          <a:bodyPr wrap="square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еречень работ и услуг в сфере </a:t>
            </a:r>
            <a:r>
              <a:rPr kumimoji="0" lang="ru-RU" sz="185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бращения медицинских </a:t>
            </a:r>
            <a:endParaRPr kumimoji="0" lang="ru-RU" sz="1850" b="1" i="0" u="none" strike="noStrike" kern="1200" cap="none" spc="0" normalizeH="0" baseline="0" noProof="0" dirty="0" smtClean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зделий</a:t>
            </a:r>
            <a:r>
              <a:rPr kumimoji="0" lang="ru-RU" sz="185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kumimoji="0" lang="ru-RU" sz="18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 начале осуществления которых юридическим лицом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или индивидуальным предпринимателем представляется </a:t>
            </a:r>
            <a:r>
              <a:rPr kumimoji="0" lang="ru-RU" sz="185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</a:t>
            </a:r>
            <a:r>
              <a:rPr kumimoji="0" lang="ru-RU" sz="185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едомление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kumimoji="0" lang="ru-RU" sz="19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4" name="Номер слайда 3"/>
          <p:cNvSpPr txBox="1">
            <a:spLocks/>
          </p:cNvSpPr>
          <p:nvPr/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470623" y="1556792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2051721" y="1772816"/>
            <a:ext cx="5328592" cy="401257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Технические </a:t>
            </a: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испытания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2051720" y="2238795"/>
            <a:ext cx="5328591" cy="429144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Токсикологические исследования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051722" y="2735896"/>
            <a:ext cx="5328589" cy="405071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Изготовление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2051721" y="3243690"/>
            <a:ext cx="5328592" cy="401333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 </a:t>
            </a: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воз </a:t>
            </a: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на территорию Российской Федерации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051721" y="3747965"/>
            <a:ext cx="5328591" cy="401115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Вывоз </a:t>
            </a: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с территории Российской Федерации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2051720" y="4218536"/>
            <a:ext cx="5328593" cy="43460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Хранение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051721" y="4729748"/>
            <a:ext cx="5328590" cy="39438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Транспортировка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2045746" y="5219829"/>
            <a:ext cx="5328590" cy="432048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Реализация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051722" y="6193094"/>
            <a:ext cx="5328588" cy="360040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ничтожение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051719" y="5733256"/>
            <a:ext cx="5328591" cy="360040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80000"/>
              </a:lnSpc>
              <a:spcBef>
                <a:spcPct val="20000"/>
              </a:spcBef>
              <a:spcAft>
                <a:spcPts val="0"/>
              </a:spcAft>
              <a:buClr>
                <a:srgbClr val="DE0000"/>
              </a:buClr>
              <a:buSzPct val="130000"/>
              <a:buFontTx/>
              <a:buNone/>
              <a:tabLst/>
              <a:defRPr/>
            </a:pPr>
            <a:r>
              <a:rPr kumimoji="0" lang="ru-RU" sz="1700" b="1" i="1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Утилизация</a:t>
            </a:r>
            <a:endParaRPr kumimoji="0" lang="ru-RU" sz="1700" b="1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3028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018488" y="6448251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Текст 2"/>
          <p:cNvSpPr txBox="1">
            <a:spLocks/>
          </p:cNvSpPr>
          <p:nvPr/>
        </p:nvSpPr>
        <p:spPr>
          <a:xfrm>
            <a:off x="753791" y="176929"/>
            <a:ext cx="8136904" cy="76586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орядок подачи-приема </a:t>
            </a:r>
            <a:r>
              <a:rPr kumimoji="0" lang="ru-RU" sz="2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ведомлений</a:t>
            </a: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Скругленный прямоугольник 9"/>
          <p:cNvSpPr/>
          <p:nvPr/>
        </p:nvSpPr>
        <p:spPr>
          <a:xfrm>
            <a:off x="451113" y="1124743"/>
            <a:ext cx="8321007" cy="1440161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Юридическим фактом, являющимся основанием для начала административной процедуры, является поступление в Росздравнадзор (территориальный орган) уведомления, составленного по форме, предусмотренной приложением № 2 </a:t>
            </a:r>
            <a:b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 Правилам, и содержащего сведения о намерении заявителя выполнять работы (оказывать услуги), указанные в пункте 87 приложения № 1 к Правилам.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36100" y="2667060"/>
            <a:ext cx="8321007" cy="89605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явитель представляет уведомление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вух экземплярах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осздравнадзор (территориальный орган)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епосредственно или направляет его заказным почтовым отправлением с описью вложения с уведомлением о вручении.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451111" y="3629971"/>
            <a:ext cx="8321007" cy="847109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Уведомление регистрируется должностным лицом 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нь его получени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, на обоих экземплярах уведомления проставляется отметка с указанием даты их получения и регистрационного номера.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67542" y="4581128"/>
            <a:ext cx="8321007" cy="671065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Один экземпляр уведомления остается в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осздравнадзоре (территориальном органе),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 второй вручается (направляется)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день регистрации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заявителю.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67540" y="5373216"/>
            <a:ext cx="8321007" cy="1296144"/>
          </a:xfrm>
          <a:prstGeom prst="roundRect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53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При наличии основания, 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осздравнадзором (территориальным органом)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нь поступления уведомления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лицу, представившему (направившему) уведомление,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за подписью заместителя руководителя или руководител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Росздравнадзора (территориального органа)</a:t>
            </a:r>
            <a:r>
              <a:rPr kumimoji="0" lang="ru-RU" sz="16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направляется мотивированный отказ в предоставлении государственной услуги.</a:t>
            </a:r>
          </a:p>
        </p:txBody>
      </p:sp>
    </p:spTree>
    <p:extLst>
      <p:ext uri="{BB962C8B-B14F-4D97-AF65-F5344CB8AC3E}">
        <p14:creationId xmlns:p14="http://schemas.microsoft.com/office/powerpoint/2010/main" val="2424677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3568" y="116633"/>
            <a:ext cx="7772400" cy="864096"/>
          </a:xfrm>
        </p:spPr>
        <p:txBody>
          <a:bodyPr>
            <a:normAutofit/>
          </a:bodyPr>
          <a:lstStyle/>
          <a:p>
            <a:pPr algn="ctr"/>
            <a:r>
              <a:rPr lang="ru-RU" sz="2000" cap="none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</a:t>
            </a:r>
            <a:r>
              <a:rPr lang="ru-RU" sz="2000" cap="none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ма уведомления о начале осуществления предпринимательской деятельности </a:t>
            </a:r>
            <a:endParaRPr lang="ru-RU" sz="2000" cap="none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5C68B6-61C2-468F-89AB-4B9F7531AA68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20" y="1005460"/>
            <a:ext cx="4248472" cy="58164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Прямая соединительная линия 7"/>
          <p:cNvCxnSpPr/>
          <p:nvPr/>
        </p:nvCxnSpPr>
        <p:spPr>
          <a:xfrm>
            <a:off x="611188" y="981075"/>
            <a:ext cx="8478837" cy="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4572000" y="1988840"/>
            <a:ext cx="4392488" cy="3168352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t"/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лное и сокращенное наименование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 /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амилия, имя, отчество ИП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изационно-правовая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орма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;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ГРН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/ ОГРНИП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чтовый адрес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дреса фактического осуществления заявленного вида деятельности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ид предпринимательской деятельности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ата начала осуществления заявленного вида деятельности;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олжность, подпись и печать ЮЛ/ИП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q"/>
              <a:tabLst/>
              <a:defRPr/>
            </a:pP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2565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dY0iZIRvyYttQnV7c6q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оставная">
      <a:dk1>
        <a:sysClr val="windowText" lastClr="000000"/>
      </a:dk1>
      <a:lt1>
        <a:sysClr val="window" lastClr="FFFFFF"/>
      </a:lt1>
      <a:dk2>
        <a:srgbClr val="5B6973"/>
      </a:dk2>
      <a:lt2>
        <a:srgbClr val="E7ECED"/>
      </a:lt2>
      <a:accent1>
        <a:srgbClr val="98C723"/>
      </a:accent1>
      <a:accent2>
        <a:srgbClr val="59B0B9"/>
      </a:accent2>
      <a:accent3>
        <a:srgbClr val="DEAE00"/>
      </a:accent3>
      <a:accent4>
        <a:srgbClr val="B77BB4"/>
      </a:accent4>
      <a:accent5>
        <a:srgbClr val="E0773C"/>
      </a:accent5>
      <a:accent6>
        <a:srgbClr val="A98D63"/>
      </a:accent6>
      <a:hlink>
        <a:srgbClr val="26CBEC"/>
      </a:hlink>
      <a:folHlink>
        <a:srgbClr val="598C8C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1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16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18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9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20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2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2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2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1_Тема Office">
  <a:themeElements>
    <a:clrScheme name="Волна">
      <a:dk1>
        <a:sysClr val="windowText" lastClr="000000"/>
      </a:dk1>
      <a:lt1>
        <a:sysClr val="window" lastClr="FFFFFF"/>
      </a:lt1>
      <a:dk2>
        <a:srgbClr val="073E87"/>
      </a:dk2>
      <a:lt2>
        <a:srgbClr val="C6E7FC"/>
      </a:lt2>
      <a:accent1>
        <a:srgbClr val="31B6FD"/>
      </a:accent1>
      <a:accent2>
        <a:srgbClr val="4584D3"/>
      </a:accent2>
      <a:accent3>
        <a:srgbClr val="5BD078"/>
      </a:accent3>
      <a:accent4>
        <a:srgbClr val="A5D028"/>
      </a:accent4>
      <a:accent5>
        <a:srgbClr val="F5C040"/>
      </a:accent5>
      <a:accent6>
        <a:srgbClr val="05E0DB"/>
      </a:accent6>
      <a:hlink>
        <a:srgbClr val="0080FF"/>
      </a:hlink>
      <a:folHlink>
        <a:srgbClr val="5EAEFF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ocsVision">
  <a:themeElements>
    <a:clrScheme name="DocsVision 14">
      <a:dk1>
        <a:srgbClr val="000000"/>
      </a:dk1>
      <a:lt1>
        <a:srgbClr val="FFFFFF"/>
      </a:lt1>
      <a:dk2>
        <a:srgbClr val="00645A"/>
      </a:dk2>
      <a:lt2>
        <a:srgbClr val="000000"/>
      </a:lt2>
      <a:accent1>
        <a:srgbClr val="BBE0E3"/>
      </a:accent1>
      <a:accent2>
        <a:srgbClr val="FA8200"/>
      </a:accent2>
      <a:accent3>
        <a:srgbClr val="FFFFFF"/>
      </a:accent3>
      <a:accent4>
        <a:srgbClr val="000000"/>
      </a:accent4>
      <a:accent5>
        <a:srgbClr val="DAEDEF"/>
      </a:accent5>
      <a:accent6>
        <a:srgbClr val="E37500"/>
      </a:accent6>
      <a:hlink>
        <a:srgbClr val="00645A"/>
      </a:hlink>
      <a:folHlink>
        <a:srgbClr val="00AC9C"/>
      </a:folHlink>
    </a:clrScheme>
    <a:fontScheme name="DocsVis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DocsVis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ocsVision 13">
        <a:dk1>
          <a:srgbClr val="000000"/>
        </a:dk1>
        <a:lt1>
          <a:srgbClr val="FFFFFF"/>
        </a:lt1>
        <a:dk2>
          <a:srgbClr val="00645A"/>
        </a:dk2>
        <a:lt2>
          <a:srgbClr val="808080"/>
        </a:lt2>
        <a:accent1>
          <a:srgbClr val="BBE0E3"/>
        </a:accent1>
        <a:accent2>
          <a:srgbClr val="FA82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E37500"/>
        </a:accent6>
        <a:hlink>
          <a:srgbClr val="00645A"/>
        </a:hlink>
        <a:folHlink>
          <a:srgbClr val="00AC9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ocsVision 14">
        <a:dk1>
          <a:srgbClr val="000000"/>
        </a:dk1>
        <a:lt1>
          <a:srgbClr val="FFFFFF"/>
        </a:lt1>
        <a:dk2>
          <a:srgbClr val="00645A"/>
        </a:dk2>
        <a:lt2>
          <a:srgbClr val="000000"/>
        </a:lt2>
        <a:accent1>
          <a:srgbClr val="BBE0E3"/>
        </a:accent1>
        <a:accent2>
          <a:srgbClr val="FA8200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E37500"/>
        </a:accent6>
        <a:hlink>
          <a:srgbClr val="00645A"/>
        </a:hlink>
        <a:folHlink>
          <a:srgbClr val="00AC9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6.xml><?xml version="1.0" encoding="utf-8"?>
<a:theme xmlns:a="http://schemas.openxmlformats.org/drawingml/2006/main" name="3_BCG Grid 16:9">
  <a:themeElements>
    <a:clrScheme name="moscow scheme">
      <a:dk1>
        <a:srgbClr val="595959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Custom 1">
      <a:majorFont>
        <a:latin typeface="PT Sans Caption"/>
        <a:ea typeface=""/>
        <a:cs typeface=""/>
      </a:majorFont>
      <a:minorFont>
        <a:latin typeface="PT Sans Caption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95959"/>
        </a:solidFill>
        <a:ln w="9525" cap="rnd" cmpd="sng" algn="ctr">
          <a:solidFill>
            <a:srgbClr val="595959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chemeClr val="tx1">
              <a:lumMod val="60000"/>
              <a:lumOff val="40000"/>
            </a:schemeClr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dirty="0" err="1" smtClean="0">
            <a:solidFill>
              <a:srgbClr val="59595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7.xml><?xml version="1.0" encoding="utf-8"?>
<a:theme xmlns:a="http://schemas.openxmlformats.org/drawingml/2006/main" name="6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7_Office Them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1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2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3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4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3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4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5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5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0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1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62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7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8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ppt/theme/themeOverride9.xml><?xml version="1.0" encoding="utf-8"?>
<a:themeOverride xmlns:a="http://schemas.openxmlformats.org/drawingml/2006/main">
  <a:clrScheme name="moscow scheme">
    <a:dk1>
      <a:srgbClr val="595959"/>
    </a:dk1>
    <a:lt1>
      <a:srgbClr val="FFFFFF"/>
    </a:lt1>
    <a:dk2>
      <a:srgbClr val="595959"/>
    </a:dk2>
    <a:lt2>
      <a:srgbClr val="EEEEEE"/>
    </a:lt2>
    <a:accent1>
      <a:srgbClr val="FFAB40"/>
    </a:accent1>
    <a:accent2>
      <a:srgbClr val="212121"/>
    </a:accent2>
    <a:accent3>
      <a:srgbClr val="78909C"/>
    </a:accent3>
    <a:accent4>
      <a:srgbClr val="FFAB40"/>
    </a:accent4>
    <a:accent5>
      <a:srgbClr val="0097A7"/>
    </a:accent5>
    <a:accent6>
      <a:srgbClr val="EEFF41"/>
    </a:accent6>
    <a:hlink>
      <a:srgbClr val="0097A7"/>
    </a:hlink>
    <a:folHlink>
      <a:srgbClr val="0097A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397</TotalTime>
  <Words>1560</Words>
  <Application>Microsoft Office PowerPoint</Application>
  <PresentationFormat>Экран (4:3)</PresentationFormat>
  <Paragraphs>167</Paragraphs>
  <Slides>17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1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47" baseType="lpstr">
      <vt:lpstr>Arial Unicode MS</vt:lpstr>
      <vt:lpstr>Arial</vt:lpstr>
      <vt:lpstr>Calibri</vt:lpstr>
      <vt:lpstr>Calibri Light</vt:lpstr>
      <vt:lpstr>FranklinGothicBookC</vt:lpstr>
      <vt:lpstr>Georgia</vt:lpstr>
      <vt:lpstr>PT Sans Caption</vt:lpstr>
      <vt:lpstr>Times New Roman</vt:lpstr>
      <vt:lpstr>Trebuchet MS</vt:lpstr>
      <vt:lpstr>Wingdings</vt:lpstr>
      <vt:lpstr>Тема Office</vt:lpstr>
      <vt:lpstr>DocsVision</vt:lpstr>
      <vt:lpstr>3_Тема Office</vt:lpstr>
      <vt:lpstr>5_Тема Office</vt:lpstr>
      <vt:lpstr>2_BCG Grid 16:9</vt:lpstr>
      <vt:lpstr>3_BCG Grid 16:9</vt:lpstr>
      <vt:lpstr>6_Office Theme</vt:lpstr>
      <vt:lpstr>7_Office Theme</vt:lpstr>
      <vt:lpstr>12_Тема Office</vt:lpstr>
      <vt:lpstr>13_Тема Office</vt:lpstr>
      <vt:lpstr>14_Тема Office</vt:lpstr>
      <vt:lpstr>16_Тема Office</vt:lpstr>
      <vt:lpstr>18_Тема Office</vt:lpstr>
      <vt:lpstr>19_Тема Office</vt:lpstr>
      <vt:lpstr>20_Тема Office</vt:lpstr>
      <vt:lpstr>21_Тема Office</vt:lpstr>
      <vt:lpstr>23_Тема Office</vt:lpstr>
      <vt:lpstr>24_Тема Office</vt:lpstr>
      <vt:lpstr>1_Тема Office</vt:lpstr>
      <vt:lpstr>think-cell Slide</vt:lpstr>
      <vt:lpstr>Презентация PowerPoint</vt:lpstr>
      <vt:lpstr>На 21.05.2019 в ФГИС МДЛП (сегмент Приморский край 2368 субъектов):</vt:lpstr>
      <vt:lpstr>   Новые нормативные документы, относящиеся к регулированию МДЛП</vt:lpstr>
      <vt:lpstr>Изменения для медицинских организаций и аптек</vt:lpstr>
      <vt:lpstr>Презентация PowerPoint</vt:lpstr>
      <vt:lpstr>Презентация PowerPoint</vt:lpstr>
      <vt:lpstr>Презентация PowerPoint</vt:lpstr>
      <vt:lpstr>Презентация PowerPoint</vt:lpstr>
      <vt:lpstr>Форма уведомления о начале осуществления предпринимательской деятельности </vt:lpstr>
      <vt:lpstr>Презентация PowerPoint</vt:lpstr>
      <vt:lpstr>Презентация PowerPoint</vt:lpstr>
      <vt:lpstr>Презентация PowerPoint</vt:lpstr>
      <vt:lpstr>Презентация PowerPoint</vt:lpstr>
      <vt:lpstr>Уведомление о начале осуществления деятельности в сфере обращения медицинских изделий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орочкин Александр Викторович</dc:creator>
  <cp:lastModifiedBy>RZN-909</cp:lastModifiedBy>
  <cp:revision>1365</cp:revision>
  <cp:lastPrinted>2016-06-21T13:15:07Z</cp:lastPrinted>
  <dcterms:created xsi:type="dcterms:W3CDTF">2012-08-31T09:55:51Z</dcterms:created>
  <dcterms:modified xsi:type="dcterms:W3CDTF">2019-05-20T21:39:42Z</dcterms:modified>
</cp:coreProperties>
</file>